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3"/>
  </p:notesMasterIdLst>
  <p:handoutMasterIdLst>
    <p:handoutMasterId r:id="rId14"/>
  </p:handoutMasterIdLst>
  <p:sldIdLst>
    <p:sldId id="256" r:id="rId2"/>
    <p:sldId id="2132861786" r:id="rId3"/>
    <p:sldId id="2147469103" r:id="rId4"/>
    <p:sldId id="2147469104" r:id="rId5"/>
    <p:sldId id="2147469125" r:id="rId6"/>
    <p:sldId id="2147469122" r:id="rId7"/>
    <p:sldId id="2147469124" r:id="rId8"/>
    <p:sldId id="2147469123" r:id="rId9"/>
    <p:sldId id="2147469106" r:id="rId10"/>
    <p:sldId id="2147469118" r:id="rId11"/>
    <p:sldId id="2147469119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u, Ming" initials="LM" lastIdx="1" clrIdx="0">
    <p:extLst>
      <p:ext uri="{19B8F6BF-5375-455C-9EA6-DF929625EA0E}">
        <p15:presenceInfo xmlns:p15="http://schemas.microsoft.com/office/powerpoint/2012/main" userId="S::liumin12@merck.com::b7dc4ee5-33d1-4788-a870-056b4dc2599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842C"/>
    <a:srgbClr val="DEC763"/>
    <a:srgbClr val="3CB18F"/>
    <a:srgbClr val="F6B048"/>
    <a:srgbClr val="F7B44A"/>
    <a:srgbClr val="F3A541"/>
    <a:srgbClr val="ECEDF0"/>
    <a:srgbClr val="00857C"/>
    <a:srgbClr val="C06112"/>
    <a:srgbClr val="EF96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中度样式 4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719" autoAdjust="0"/>
  </p:normalViewPr>
  <p:slideViewPr>
    <p:cSldViewPr snapToGrid="0">
      <p:cViewPr varScale="1">
        <p:scale>
          <a:sx n="68" d="100"/>
          <a:sy n="68" d="100"/>
        </p:scale>
        <p:origin x="592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5" d="100"/>
          <a:sy n="55" d="100"/>
        </p:scale>
        <p:origin x="2604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u, Xue" userId="b705685b-88d2-4eae-a369-da764440a623" providerId="ADAL" clId="{836550AA-E587-4A08-B5D6-C992D9D5AB4E}"/>
    <pc:docChg chg="undo custSel modSld">
      <pc:chgData name="Hu, Xue" userId="b705685b-88d2-4eae-a369-da764440a623" providerId="ADAL" clId="{836550AA-E587-4A08-B5D6-C992D9D5AB4E}" dt="2022-07-12T03:59:58.069" v="278" actId="207"/>
      <pc:docMkLst>
        <pc:docMk/>
      </pc:docMkLst>
      <pc:sldChg chg="modSp mod">
        <pc:chgData name="Hu, Xue" userId="b705685b-88d2-4eae-a369-da764440a623" providerId="ADAL" clId="{836550AA-E587-4A08-B5D6-C992D9D5AB4E}" dt="2022-07-12T03:23:37.152" v="2" actId="14100"/>
        <pc:sldMkLst>
          <pc:docMk/>
          <pc:sldMk cId="3388655607" sldId="2147469103"/>
        </pc:sldMkLst>
        <pc:spChg chg="mod">
          <ac:chgData name="Hu, Xue" userId="b705685b-88d2-4eae-a369-da764440a623" providerId="ADAL" clId="{836550AA-E587-4A08-B5D6-C992D9D5AB4E}" dt="2022-07-12T03:23:37.152" v="2" actId="14100"/>
          <ac:spMkLst>
            <pc:docMk/>
            <pc:sldMk cId="3388655607" sldId="2147469103"/>
            <ac:spMk id="132" creationId="{08D71670-0C51-4FF0-8681-CAF5D7FE2C47}"/>
          </ac:spMkLst>
        </pc:spChg>
      </pc:sldChg>
      <pc:sldChg chg="modSp mod">
        <pc:chgData name="Hu, Xue" userId="b705685b-88d2-4eae-a369-da764440a623" providerId="ADAL" clId="{836550AA-E587-4A08-B5D6-C992D9D5AB4E}" dt="2022-07-12T03:27:13.664" v="10" actId="113"/>
        <pc:sldMkLst>
          <pc:docMk/>
          <pc:sldMk cId="3599480056" sldId="2147469104"/>
        </pc:sldMkLst>
        <pc:spChg chg="mod">
          <ac:chgData name="Hu, Xue" userId="b705685b-88d2-4eae-a369-da764440a623" providerId="ADAL" clId="{836550AA-E587-4A08-B5D6-C992D9D5AB4E}" dt="2022-07-12T03:25:44.283" v="5" actId="113"/>
          <ac:spMkLst>
            <pc:docMk/>
            <pc:sldMk cId="3599480056" sldId="2147469104"/>
            <ac:spMk id="49" creationId="{FF46CBAE-5667-41FF-8E5E-2B7714546787}"/>
          </ac:spMkLst>
        </pc:spChg>
        <pc:graphicFrameChg chg="modGraphic">
          <ac:chgData name="Hu, Xue" userId="b705685b-88d2-4eae-a369-da764440a623" providerId="ADAL" clId="{836550AA-E587-4A08-B5D6-C992D9D5AB4E}" dt="2022-07-12T03:27:13.664" v="10" actId="113"/>
          <ac:graphicFrameMkLst>
            <pc:docMk/>
            <pc:sldMk cId="3599480056" sldId="2147469104"/>
            <ac:graphicFrameMk id="24" creationId="{D21A1C9A-B433-4E18-A19E-9BA9209FD5E5}"/>
          </ac:graphicFrameMkLst>
        </pc:graphicFrameChg>
      </pc:sldChg>
      <pc:sldChg chg="modSp mod">
        <pc:chgData name="Hu, Xue" userId="b705685b-88d2-4eae-a369-da764440a623" providerId="ADAL" clId="{836550AA-E587-4A08-B5D6-C992D9D5AB4E}" dt="2022-07-12T03:49:08.170" v="221" actId="1035"/>
        <pc:sldMkLst>
          <pc:docMk/>
          <pc:sldMk cId="378650186" sldId="2147469106"/>
        </pc:sldMkLst>
        <pc:spChg chg="mod">
          <ac:chgData name="Hu, Xue" userId="b705685b-88d2-4eae-a369-da764440a623" providerId="ADAL" clId="{836550AA-E587-4A08-B5D6-C992D9D5AB4E}" dt="2022-07-12T03:30:10.456" v="22" actId="20577"/>
          <ac:spMkLst>
            <pc:docMk/>
            <pc:sldMk cId="378650186" sldId="2147469106"/>
            <ac:spMk id="6" creationId="{E7C155B4-7AB9-4008-ADE8-F3CFC5EFFE0A}"/>
          </ac:spMkLst>
        </pc:spChg>
        <pc:spChg chg="mod">
          <ac:chgData name="Hu, Xue" userId="b705685b-88d2-4eae-a369-da764440a623" providerId="ADAL" clId="{836550AA-E587-4A08-B5D6-C992D9D5AB4E}" dt="2022-07-12T03:49:01.270" v="218" actId="1038"/>
          <ac:spMkLst>
            <pc:docMk/>
            <pc:sldMk cId="378650186" sldId="2147469106"/>
            <ac:spMk id="43" creationId="{D64BC027-0762-40DD-8205-F73F873DA322}"/>
          </ac:spMkLst>
        </pc:spChg>
        <pc:spChg chg="mod">
          <ac:chgData name="Hu, Xue" userId="b705685b-88d2-4eae-a369-da764440a623" providerId="ADAL" clId="{836550AA-E587-4A08-B5D6-C992D9D5AB4E}" dt="2022-07-12T03:48:43.172" v="180" actId="1035"/>
          <ac:spMkLst>
            <pc:docMk/>
            <pc:sldMk cId="378650186" sldId="2147469106"/>
            <ac:spMk id="44" creationId="{71B01266-E229-4BC1-BBA4-BF1E751E48BE}"/>
          </ac:spMkLst>
        </pc:spChg>
        <pc:spChg chg="mod">
          <ac:chgData name="Hu, Xue" userId="b705685b-88d2-4eae-a369-da764440a623" providerId="ADAL" clId="{836550AA-E587-4A08-B5D6-C992D9D5AB4E}" dt="2022-07-12T03:48:18.442" v="147" actId="1035"/>
          <ac:spMkLst>
            <pc:docMk/>
            <pc:sldMk cId="378650186" sldId="2147469106"/>
            <ac:spMk id="59" creationId="{841CE17C-8839-4B73-8F8A-812F8A9E6FB5}"/>
          </ac:spMkLst>
        </pc:spChg>
        <pc:spChg chg="mod">
          <ac:chgData name="Hu, Xue" userId="b705685b-88d2-4eae-a369-da764440a623" providerId="ADAL" clId="{836550AA-E587-4A08-B5D6-C992D9D5AB4E}" dt="2022-07-12T03:48:26.943" v="150" actId="1035"/>
          <ac:spMkLst>
            <pc:docMk/>
            <pc:sldMk cId="378650186" sldId="2147469106"/>
            <ac:spMk id="60" creationId="{E919B955-FEB5-4416-9E82-4CF39564D878}"/>
          </ac:spMkLst>
        </pc:spChg>
        <pc:spChg chg="mod">
          <ac:chgData name="Hu, Xue" userId="b705685b-88d2-4eae-a369-da764440a623" providerId="ADAL" clId="{836550AA-E587-4A08-B5D6-C992D9D5AB4E}" dt="2022-07-12T03:48:05.379" v="143" actId="1035"/>
          <ac:spMkLst>
            <pc:docMk/>
            <pc:sldMk cId="378650186" sldId="2147469106"/>
            <ac:spMk id="63" creationId="{CFA33144-9131-4DCA-A3E3-D63F83AE4479}"/>
          </ac:spMkLst>
        </pc:spChg>
        <pc:spChg chg="mod">
          <ac:chgData name="Hu, Xue" userId="b705685b-88d2-4eae-a369-da764440a623" providerId="ADAL" clId="{836550AA-E587-4A08-B5D6-C992D9D5AB4E}" dt="2022-07-12T03:49:08.170" v="221" actId="1035"/>
          <ac:spMkLst>
            <pc:docMk/>
            <pc:sldMk cId="378650186" sldId="2147469106"/>
            <ac:spMk id="64" creationId="{EB228861-9C21-4F68-8539-10A400822A0C}"/>
          </ac:spMkLst>
        </pc:spChg>
        <pc:spChg chg="mod">
          <ac:chgData name="Hu, Xue" userId="b705685b-88d2-4eae-a369-da764440a623" providerId="ADAL" clId="{836550AA-E587-4A08-B5D6-C992D9D5AB4E}" dt="2022-07-12T03:47:45.351" v="139" actId="1035"/>
          <ac:spMkLst>
            <pc:docMk/>
            <pc:sldMk cId="378650186" sldId="2147469106"/>
            <ac:spMk id="90" creationId="{938BA836-E4A0-4CBA-B67F-79C622D696D7}"/>
          </ac:spMkLst>
        </pc:spChg>
        <pc:grpChg chg="mod">
          <ac:chgData name="Hu, Xue" userId="b705685b-88d2-4eae-a369-da764440a623" providerId="ADAL" clId="{836550AA-E587-4A08-B5D6-C992D9D5AB4E}" dt="2022-07-12T03:48:05.379" v="143" actId="1035"/>
          <ac:grpSpMkLst>
            <pc:docMk/>
            <pc:sldMk cId="378650186" sldId="2147469106"/>
            <ac:grpSpMk id="68" creationId="{5D3C6AA9-6EA6-499E-AEB3-FA96EF2113BF}"/>
          </ac:grpSpMkLst>
        </pc:grpChg>
      </pc:sldChg>
      <pc:sldChg chg="modSp mod">
        <pc:chgData name="Hu, Xue" userId="b705685b-88d2-4eae-a369-da764440a623" providerId="ADAL" clId="{836550AA-E587-4A08-B5D6-C992D9D5AB4E}" dt="2022-07-12T03:29:57.501" v="20" actId="20577"/>
        <pc:sldMkLst>
          <pc:docMk/>
          <pc:sldMk cId="195541985" sldId="2147469107"/>
        </pc:sldMkLst>
        <pc:spChg chg="mod">
          <ac:chgData name="Hu, Xue" userId="b705685b-88d2-4eae-a369-da764440a623" providerId="ADAL" clId="{836550AA-E587-4A08-B5D6-C992D9D5AB4E}" dt="2022-07-12T03:29:57.501" v="20" actId="20577"/>
          <ac:spMkLst>
            <pc:docMk/>
            <pc:sldMk cId="195541985" sldId="2147469107"/>
            <ac:spMk id="2" creationId="{6FA4B1DF-6D15-4187-979D-A43FD9645787}"/>
          </ac:spMkLst>
        </pc:spChg>
      </pc:sldChg>
      <pc:sldChg chg="modSp mod">
        <pc:chgData name="Hu, Xue" userId="b705685b-88d2-4eae-a369-da764440a623" providerId="ADAL" clId="{836550AA-E587-4A08-B5D6-C992D9D5AB4E}" dt="2022-07-12T03:51:13.397" v="229" actId="207"/>
        <pc:sldMkLst>
          <pc:docMk/>
          <pc:sldMk cId="1639535235" sldId="2147469118"/>
        </pc:sldMkLst>
        <pc:spChg chg="mod">
          <ac:chgData name="Hu, Xue" userId="b705685b-88d2-4eae-a369-da764440a623" providerId="ADAL" clId="{836550AA-E587-4A08-B5D6-C992D9D5AB4E}" dt="2022-07-12T03:30:15.896" v="24" actId="20577"/>
          <ac:spMkLst>
            <pc:docMk/>
            <pc:sldMk cId="1639535235" sldId="2147469118"/>
            <ac:spMk id="6" creationId="{E7C155B4-7AB9-4008-ADE8-F3CFC5EFFE0A}"/>
          </ac:spMkLst>
        </pc:spChg>
        <pc:spChg chg="mod">
          <ac:chgData name="Hu, Xue" userId="b705685b-88d2-4eae-a369-da764440a623" providerId="ADAL" clId="{836550AA-E587-4A08-B5D6-C992D9D5AB4E}" dt="2022-07-12T03:51:13.397" v="229" actId="207"/>
          <ac:spMkLst>
            <pc:docMk/>
            <pc:sldMk cId="1639535235" sldId="2147469118"/>
            <ac:spMk id="72" creationId="{CAA5C037-8C2C-439D-8E01-9A21D8E3628D}"/>
          </ac:spMkLst>
        </pc:spChg>
        <pc:spChg chg="mod">
          <ac:chgData name="Hu, Xue" userId="b705685b-88d2-4eae-a369-da764440a623" providerId="ADAL" clId="{836550AA-E587-4A08-B5D6-C992D9D5AB4E}" dt="2022-07-12T03:50:42.317" v="228" actId="255"/>
          <ac:spMkLst>
            <pc:docMk/>
            <pc:sldMk cId="1639535235" sldId="2147469118"/>
            <ac:spMk id="75" creationId="{2BF97B46-FFD0-4EC9-A702-630F613CD9AF}"/>
          </ac:spMkLst>
        </pc:spChg>
        <pc:spChg chg="mod">
          <ac:chgData name="Hu, Xue" userId="b705685b-88d2-4eae-a369-da764440a623" providerId="ADAL" clId="{836550AA-E587-4A08-B5D6-C992D9D5AB4E}" dt="2022-07-12T03:50:42.317" v="228" actId="255"/>
          <ac:spMkLst>
            <pc:docMk/>
            <pc:sldMk cId="1639535235" sldId="2147469118"/>
            <ac:spMk id="78" creationId="{3734C87D-A277-4703-9DCE-BFBBFC86D8B2}"/>
          </ac:spMkLst>
        </pc:spChg>
        <pc:spChg chg="mod">
          <ac:chgData name="Hu, Xue" userId="b705685b-88d2-4eae-a369-da764440a623" providerId="ADAL" clId="{836550AA-E587-4A08-B5D6-C992D9D5AB4E}" dt="2022-07-12T03:50:42.317" v="228" actId="255"/>
          <ac:spMkLst>
            <pc:docMk/>
            <pc:sldMk cId="1639535235" sldId="2147469118"/>
            <ac:spMk id="81" creationId="{03B71F4C-60AC-4885-ABC8-AC24749762B5}"/>
          </ac:spMkLst>
        </pc:spChg>
        <pc:spChg chg="mod">
          <ac:chgData name="Hu, Xue" userId="b705685b-88d2-4eae-a369-da764440a623" providerId="ADAL" clId="{836550AA-E587-4A08-B5D6-C992D9D5AB4E}" dt="2022-07-12T03:49:55.518" v="222" actId="207"/>
          <ac:spMkLst>
            <pc:docMk/>
            <pc:sldMk cId="1639535235" sldId="2147469118"/>
            <ac:spMk id="90" creationId="{938BA836-E4A0-4CBA-B67F-79C622D696D7}"/>
          </ac:spMkLst>
        </pc:spChg>
        <pc:spChg chg="mod">
          <ac:chgData name="Hu, Xue" userId="b705685b-88d2-4eae-a369-da764440a623" providerId="ADAL" clId="{836550AA-E587-4A08-B5D6-C992D9D5AB4E}" dt="2022-07-12T03:50:27.981" v="227" actId="1036"/>
          <ac:spMkLst>
            <pc:docMk/>
            <pc:sldMk cId="1639535235" sldId="2147469118"/>
            <ac:spMk id="1178" creationId="{88F97BAC-2740-4490-9AE9-9BBD1932A4E2}"/>
          </ac:spMkLst>
        </pc:spChg>
      </pc:sldChg>
      <pc:sldChg chg="modSp mod">
        <pc:chgData name="Hu, Xue" userId="b705685b-88d2-4eae-a369-da764440a623" providerId="ADAL" clId="{836550AA-E587-4A08-B5D6-C992D9D5AB4E}" dt="2022-07-12T03:55:01.486" v="274" actId="113"/>
        <pc:sldMkLst>
          <pc:docMk/>
          <pc:sldMk cId="266915946" sldId="2147469119"/>
        </pc:sldMkLst>
        <pc:spChg chg="mod">
          <ac:chgData name="Hu, Xue" userId="b705685b-88d2-4eae-a369-da764440a623" providerId="ADAL" clId="{836550AA-E587-4A08-B5D6-C992D9D5AB4E}" dt="2022-07-12T03:53:59.103" v="269" actId="207"/>
          <ac:spMkLst>
            <pc:docMk/>
            <pc:sldMk cId="266915946" sldId="2147469119"/>
            <ac:spMk id="7" creationId="{C51BB72B-8C1D-4921-9E87-4285F2C1A829}"/>
          </ac:spMkLst>
        </pc:spChg>
        <pc:spChg chg="mod">
          <ac:chgData name="Hu, Xue" userId="b705685b-88d2-4eae-a369-da764440a623" providerId="ADAL" clId="{836550AA-E587-4A08-B5D6-C992D9D5AB4E}" dt="2022-07-12T03:53:34.075" v="268" actId="255"/>
          <ac:spMkLst>
            <pc:docMk/>
            <pc:sldMk cId="266915946" sldId="2147469119"/>
            <ac:spMk id="8" creationId="{ABCE91F3-D7FE-40CF-9EC1-F78791312E6D}"/>
          </ac:spMkLst>
        </pc:spChg>
        <pc:spChg chg="mod">
          <ac:chgData name="Hu, Xue" userId="b705685b-88d2-4eae-a369-da764440a623" providerId="ADAL" clId="{836550AA-E587-4A08-B5D6-C992D9D5AB4E}" dt="2022-07-12T03:30:22.111" v="26" actId="20577"/>
          <ac:spMkLst>
            <pc:docMk/>
            <pc:sldMk cId="266915946" sldId="2147469119"/>
            <ac:spMk id="15" creationId="{90B946AB-125F-4DE1-A0D6-AC64013F5D2F}"/>
          </ac:spMkLst>
        </pc:spChg>
        <pc:spChg chg="mod">
          <ac:chgData name="Hu, Xue" userId="b705685b-88d2-4eae-a369-da764440a623" providerId="ADAL" clId="{836550AA-E587-4A08-B5D6-C992D9D5AB4E}" dt="2022-07-12T03:53:24.673" v="267" actId="1037"/>
          <ac:spMkLst>
            <pc:docMk/>
            <pc:sldMk cId="266915946" sldId="2147469119"/>
            <ac:spMk id="16" creationId="{D8B94282-0F8B-440C-AE69-14B019F21621}"/>
          </ac:spMkLst>
        </pc:spChg>
        <pc:spChg chg="mod">
          <ac:chgData name="Hu, Xue" userId="b705685b-88d2-4eae-a369-da764440a623" providerId="ADAL" clId="{836550AA-E587-4A08-B5D6-C992D9D5AB4E}" dt="2022-07-12T03:55:01.486" v="274" actId="113"/>
          <ac:spMkLst>
            <pc:docMk/>
            <pc:sldMk cId="266915946" sldId="2147469119"/>
            <ac:spMk id="18" creationId="{E9F545D4-CC11-4B0E-BFFC-938BD9A0B5DB}"/>
          </ac:spMkLst>
        </pc:spChg>
      </pc:sldChg>
      <pc:sldChg chg="modSp mod">
        <pc:chgData name="Hu, Xue" userId="b705685b-88d2-4eae-a369-da764440a623" providerId="ADAL" clId="{836550AA-E587-4A08-B5D6-C992D9D5AB4E}" dt="2022-07-12T03:42:25.236" v="120" actId="1036"/>
        <pc:sldMkLst>
          <pc:docMk/>
          <pc:sldMk cId="1723409729" sldId="2147469122"/>
        </pc:sldMkLst>
        <pc:spChg chg="mod">
          <ac:chgData name="Hu, Xue" userId="b705685b-88d2-4eae-a369-da764440a623" providerId="ADAL" clId="{836550AA-E587-4A08-B5D6-C992D9D5AB4E}" dt="2022-07-12T03:29:40.688" v="14" actId="20577"/>
          <ac:spMkLst>
            <pc:docMk/>
            <pc:sldMk cId="1723409729" sldId="2147469122"/>
            <ac:spMk id="3" creationId="{733FDD07-27E6-492C-9319-4C453AC438E3}"/>
          </ac:spMkLst>
        </pc:spChg>
        <pc:spChg chg="mod">
          <ac:chgData name="Hu, Xue" userId="b705685b-88d2-4eae-a369-da764440a623" providerId="ADAL" clId="{836550AA-E587-4A08-B5D6-C992D9D5AB4E}" dt="2022-07-12T03:42:15.479" v="106" actId="20577"/>
          <ac:spMkLst>
            <pc:docMk/>
            <pc:sldMk cId="1723409729" sldId="2147469122"/>
            <ac:spMk id="14" creationId="{0A4B4184-9EA5-43CF-9C43-944E771075DC}"/>
          </ac:spMkLst>
        </pc:spChg>
        <pc:spChg chg="mod">
          <ac:chgData name="Hu, Xue" userId="b705685b-88d2-4eae-a369-da764440a623" providerId="ADAL" clId="{836550AA-E587-4A08-B5D6-C992D9D5AB4E}" dt="2022-07-12T03:42:05.765" v="105" actId="1037"/>
          <ac:spMkLst>
            <pc:docMk/>
            <pc:sldMk cId="1723409729" sldId="2147469122"/>
            <ac:spMk id="27" creationId="{24238493-C7AD-4423-8D2D-6FDC046982D0}"/>
          </ac:spMkLst>
        </pc:spChg>
        <pc:spChg chg="mod">
          <ac:chgData name="Hu, Xue" userId="b705685b-88d2-4eae-a369-da764440a623" providerId="ADAL" clId="{836550AA-E587-4A08-B5D6-C992D9D5AB4E}" dt="2022-07-12T03:42:25.236" v="120" actId="1036"/>
          <ac:spMkLst>
            <pc:docMk/>
            <pc:sldMk cId="1723409729" sldId="2147469122"/>
            <ac:spMk id="28" creationId="{560A1A8E-4844-4584-A5AC-752FCA2204E0}"/>
          </ac:spMkLst>
        </pc:spChg>
      </pc:sldChg>
      <pc:sldChg chg="modSp mod">
        <pc:chgData name="Hu, Xue" userId="b705685b-88d2-4eae-a369-da764440a623" providerId="ADAL" clId="{836550AA-E587-4A08-B5D6-C992D9D5AB4E}" dt="2022-07-12T03:59:58.069" v="278" actId="207"/>
        <pc:sldMkLst>
          <pc:docMk/>
          <pc:sldMk cId="183527708" sldId="2147469123"/>
        </pc:sldMkLst>
        <pc:spChg chg="mod">
          <ac:chgData name="Hu, Xue" userId="b705685b-88d2-4eae-a369-da764440a623" providerId="ADAL" clId="{836550AA-E587-4A08-B5D6-C992D9D5AB4E}" dt="2022-07-12T03:29:51.709" v="18" actId="20577"/>
          <ac:spMkLst>
            <pc:docMk/>
            <pc:sldMk cId="183527708" sldId="2147469123"/>
            <ac:spMk id="3" creationId="{4484B26F-4E19-4251-8FE9-DD39D9C4BD59}"/>
          </ac:spMkLst>
        </pc:spChg>
        <pc:spChg chg="mod">
          <ac:chgData name="Hu, Xue" userId="b705685b-88d2-4eae-a369-da764440a623" providerId="ADAL" clId="{836550AA-E587-4A08-B5D6-C992D9D5AB4E}" dt="2022-07-12T03:45:43.158" v="130" actId="207"/>
          <ac:spMkLst>
            <pc:docMk/>
            <pc:sldMk cId="183527708" sldId="2147469123"/>
            <ac:spMk id="15" creationId="{1404526E-CD7B-48EC-B30F-83958286BCD6}"/>
          </ac:spMkLst>
        </pc:spChg>
        <pc:spChg chg="mod">
          <ac:chgData name="Hu, Xue" userId="b705685b-88d2-4eae-a369-da764440a623" providerId="ADAL" clId="{836550AA-E587-4A08-B5D6-C992D9D5AB4E}" dt="2022-07-12T03:59:54.538" v="277" actId="207"/>
          <ac:spMkLst>
            <pc:docMk/>
            <pc:sldMk cId="183527708" sldId="2147469123"/>
            <ac:spMk id="16" creationId="{F7BFA8D9-FAAA-45A5-8FC5-B8D88A775412}"/>
          </ac:spMkLst>
        </pc:spChg>
        <pc:spChg chg="mod">
          <ac:chgData name="Hu, Xue" userId="b705685b-88d2-4eae-a369-da764440a623" providerId="ADAL" clId="{836550AA-E587-4A08-B5D6-C992D9D5AB4E}" dt="2022-07-12T03:59:58.069" v="278" actId="207"/>
          <ac:spMkLst>
            <pc:docMk/>
            <pc:sldMk cId="183527708" sldId="2147469123"/>
            <ac:spMk id="20" creationId="{641187B0-47EF-4A79-97F3-E20DE41A1215}"/>
          </ac:spMkLst>
        </pc:spChg>
        <pc:spChg chg="mod">
          <ac:chgData name="Hu, Xue" userId="b705685b-88d2-4eae-a369-da764440a623" providerId="ADAL" clId="{836550AA-E587-4A08-B5D6-C992D9D5AB4E}" dt="2022-07-12T03:46:18.326" v="133" actId="113"/>
          <ac:spMkLst>
            <pc:docMk/>
            <pc:sldMk cId="183527708" sldId="2147469123"/>
            <ac:spMk id="21" creationId="{0D3E7FEA-4B70-46E5-B948-CA5B90F17B72}"/>
          </ac:spMkLst>
        </pc:spChg>
      </pc:sldChg>
      <pc:sldChg chg="modSp mod">
        <pc:chgData name="Hu, Xue" userId="b705685b-88d2-4eae-a369-da764440a623" providerId="ADAL" clId="{836550AA-E587-4A08-B5D6-C992D9D5AB4E}" dt="2022-07-12T03:45:00.412" v="127" actId="207"/>
        <pc:sldMkLst>
          <pc:docMk/>
          <pc:sldMk cId="2434492675" sldId="2147469124"/>
        </pc:sldMkLst>
        <pc:spChg chg="mod">
          <ac:chgData name="Hu, Xue" userId="b705685b-88d2-4eae-a369-da764440a623" providerId="ADAL" clId="{836550AA-E587-4A08-B5D6-C992D9D5AB4E}" dt="2022-07-12T03:29:45.606" v="16" actId="20577"/>
          <ac:spMkLst>
            <pc:docMk/>
            <pc:sldMk cId="2434492675" sldId="2147469124"/>
            <ac:spMk id="3" creationId="{BE19F926-9B8E-4D8C-849A-601600D5541D}"/>
          </ac:spMkLst>
        </pc:spChg>
        <pc:spChg chg="mod">
          <ac:chgData name="Hu, Xue" userId="b705685b-88d2-4eae-a369-da764440a623" providerId="ADAL" clId="{836550AA-E587-4A08-B5D6-C992D9D5AB4E}" dt="2022-07-12T03:44:06.822" v="125" actId="255"/>
          <ac:spMkLst>
            <pc:docMk/>
            <pc:sldMk cId="2434492675" sldId="2147469124"/>
            <ac:spMk id="7" creationId="{2C2BAD90-8768-4594-B763-EAA5E74C573D}"/>
          </ac:spMkLst>
        </pc:spChg>
        <pc:spChg chg="mod">
          <ac:chgData name="Hu, Xue" userId="b705685b-88d2-4eae-a369-da764440a623" providerId="ADAL" clId="{836550AA-E587-4A08-B5D6-C992D9D5AB4E}" dt="2022-07-12T03:45:00.412" v="127" actId="207"/>
          <ac:spMkLst>
            <pc:docMk/>
            <pc:sldMk cId="2434492675" sldId="2147469124"/>
            <ac:spMk id="22" creationId="{7DAAC278-3867-491F-A304-F58CD9711441}"/>
          </ac:spMkLst>
        </pc:spChg>
      </pc:sldChg>
      <pc:sldChg chg="modSp mod">
        <pc:chgData name="Hu, Xue" userId="b705685b-88d2-4eae-a369-da764440a623" providerId="ADAL" clId="{836550AA-E587-4A08-B5D6-C992D9D5AB4E}" dt="2022-07-12T03:58:17.422" v="276" actId="14100"/>
        <pc:sldMkLst>
          <pc:docMk/>
          <pc:sldMk cId="786371180" sldId="2147469125"/>
        </pc:sldMkLst>
        <pc:spChg chg="mod">
          <ac:chgData name="Hu, Xue" userId="b705685b-88d2-4eae-a369-da764440a623" providerId="ADAL" clId="{836550AA-E587-4A08-B5D6-C992D9D5AB4E}" dt="2022-07-12T03:35:14.025" v="44" actId="255"/>
          <ac:spMkLst>
            <pc:docMk/>
            <pc:sldMk cId="786371180" sldId="2147469125"/>
            <ac:spMk id="4" creationId="{C2F8B055-2077-4A2E-9FCF-F3598D9D0BBC}"/>
          </ac:spMkLst>
        </pc:spChg>
        <pc:spChg chg="mod">
          <ac:chgData name="Hu, Xue" userId="b705685b-88d2-4eae-a369-da764440a623" providerId="ADAL" clId="{836550AA-E587-4A08-B5D6-C992D9D5AB4E}" dt="2022-07-12T03:36:39.508" v="52" actId="255"/>
          <ac:spMkLst>
            <pc:docMk/>
            <pc:sldMk cId="786371180" sldId="2147469125"/>
            <ac:spMk id="5" creationId="{F86BA503-9808-4F56-B252-CA3EB0E25555}"/>
          </ac:spMkLst>
        </pc:spChg>
        <pc:spChg chg="mod">
          <ac:chgData name="Hu, Xue" userId="b705685b-88d2-4eae-a369-da764440a623" providerId="ADAL" clId="{836550AA-E587-4A08-B5D6-C992D9D5AB4E}" dt="2022-07-12T03:33:26.550" v="34" actId="255"/>
          <ac:spMkLst>
            <pc:docMk/>
            <pc:sldMk cId="786371180" sldId="2147469125"/>
            <ac:spMk id="6" creationId="{3DB9F11F-A522-44D2-AF02-118FD5E57A23}"/>
          </ac:spMkLst>
        </pc:spChg>
        <pc:spChg chg="mod">
          <ac:chgData name="Hu, Xue" userId="b705685b-88d2-4eae-a369-da764440a623" providerId="ADAL" clId="{836550AA-E587-4A08-B5D6-C992D9D5AB4E}" dt="2022-07-12T03:33:09.115" v="32" actId="255"/>
          <ac:spMkLst>
            <pc:docMk/>
            <pc:sldMk cId="786371180" sldId="2147469125"/>
            <ac:spMk id="7" creationId="{2E0D0D9F-1CD2-4534-A639-CC63EEDDF633}"/>
          </ac:spMkLst>
        </pc:spChg>
        <pc:spChg chg="mod">
          <ac:chgData name="Hu, Xue" userId="b705685b-88d2-4eae-a369-da764440a623" providerId="ADAL" clId="{836550AA-E587-4A08-B5D6-C992D9D5AB4E}" dt="2022-07-12T03:33:46.921" v="36" actId="255"/>
          <ac:spMkLst>
            <pc:docMk/>
            <pc:sldMk cId="786371180" sldId="2147469125"/>
            <ac:spMk id="8" creationId="{EEB55F15-045E-4DD2-9BC9-897D490E19FF}"/>
          </ac:spMkLst>
        </pc:spChg>
        <pc:spChg chg="mod">
          <ac:chgData name="Hu, Xue" userId="b705685b-88d2-4eae-a369-da764440a623" providerId="ADAL" clId="{836550AA-E587-4A08-B5D6-C992D9D5AB4E}" dt="2022-07-12T03:58:17.422" v="276" actId="14100"/>
          <ac:spMkLst>
            <pc:docMk/>
            <pc:sldMk cId="786371180" sldId="2147469125"/>
            <ac:spMk id="9" creationId="{CA8CA1D3-31ED-450E-9E5B-1E31FDBD77D5}"/>
          </ac:spMkLst>
        </pc:spChg>
        <pc:spChg chg="mod">
          <ac:chgData name="Hu, Xue" userId="b705685b-88d2-4eae-a369-da764440a623" providerId="ADAL" clId="{836550AA-E587-4A08-B5D6-C992D9D5AB4E}" dt="2022-07-12T03:58:09" v="275" actId="14100"/>
          <ac:spMkLst>
            <pc:docMk/>
            <pc:sldMk cId="786371180" sldId="2147469125"/>
            <ac:spMk id="10" creationId="{C6C408A2-EEDD-4327-91E6-F7A405F538E6}"/>
          </ac:spMkLst>
        </pc:spChg>
        <pc:spChg chg="mod">
          <ac:chgData name="Hu, Xue" userId="b705685b-88d2-4eae-a369-da764440a623" providerId="ADAL" clId="{836550AA-E587-4A08-B5D6-C992D9D5AB4E}" dt="2022-07-12T03:29:34.005" v="12" actId="20577"/>
          <ac:spMkLst>
            <pc:docMk/>
            <pc:sldMk cId="786371180" sldId="2147469125"/>
            <ac:spMk id="12" creationId="{354BFB40-3FD1-4244-B7F6-D31917086F40}"/>
          </ac:spMkLst>
        </pc:spChg>
        <pc:spChg chg="mod">
          <ac:chgData name="Hu, Xue" userId="b705685b-88d2-4eae-a369-da764440a623" providerId="ADAL" clId="{836550AA-E587-4A08-B5D6-C992D9D5AB4E}" dt="2022-07-12T03:33:41.206" v="35" actId="255"/>
          <ac:spMkLst>
            <pc:docMk/>
            <pc:sldMk cId="786371180" sldId="2147469125"/>
            <ac:spMk id="14" creationId="{D33ACF08-F900-4080-9B10-E5B9460F5405}"/>
          </ac:spMkLst>
        </pc:spChg>
        <pc:spChg chg="mod">
          <ac:chgData name="Hu, Xue" userId="b705685b-88d2-4eae-a369-da764440a623" providerId="ADAL" clId="{836550AA-E587-4A08-B5D6-C992D9D5AB4E}" dt="2022-07-12T03:33:00.551" v="31" actId="255"/>
          <ac:spMkLst>
            <pc:docMk/>
            <pc:sldMk cId="786371180" sldId="2147469125"/>
            <ac:spMk id="16" creationId="{DFBDAE6E-507B-44B0-8894-6D5DE4BC566F}"/>
          </ac:spMkLst>
        </pc:spChg>
        <pc:spChg chg="mod">
          <ac:chgData name="Hu, Xue" userId="b705685b-88d2-4eae-a369-da764440a623" providerId="ADAL" clId="{836550AA-E587-4A08-B5D6-C992D9D5AB4E}" dt="2022-07-12T03:36:45.514" v="53" actId="255"/>
          <ac:spMkLst>
            <pc:docMk/>
            <pc:sldMk cId="786371180" sldId="2147469125"/>
            <ac:spMk id="17" creationId="{398AEDF5-4931-499A-8575-440F1E6AD145}"/>
          </ac:spMkLst>
        </pc:spChg>
        <pc:spChg chg="mod">
          <ac:chgData name="Hu, Xue" userId="b705685b-88d2-4eae-a369-da764440a623" providerId="ADAL" clId="{836550AA-E587-4A08-B5D6-C992D9D5AB4E}" dt="2022-07-12T03:34:04.876" v="38" actId="255"/>
          <ac:spMkLst>
            <pc:docMk/>
            <pc:sldMk cId="786371180" sldId="2147469125"/>
            <ac:spMk id="18" creationId="{9CBFBB1C-28E9-4A1E-8698-1DFAE04CA46F}"/>
          </ac:spMkLst>
        </pc:spChg>
        <pc:spChg chg="mod">
          <ac:chgData name="Hu, Xue" userId="b705685b-88d2-4eae-a369-da764440a623" providerId="ADAL" clId="{836550AA-E587-4A08-B5D6-C992D9D5AB4E}" dt="2022-07-12T03:33:17.475" v="33" actId="255"/>
          <ac:spMkLst>
            <pc:docMk/>
            <pc:sldMk cId="786371180" sldId="2147469125"/>
            <ac:spMk id="19" creationId="{AB8F34EC-3997-47F8-A414-EC17C26F7103}"/>
          </ac:spMkLst>
        </pc:spChg>
        <pc:spChg chg="mod">
          <ac:chgData name="Hu, Xue" userId="b705685b-88d2-4eae-a369-da764440a623" providerId="ADAL" clId="{836550AA-E587-4A08-B5D6-C992D9D5AB4E}" dt="2022-07-12T03:36:06.329" v="49" actId="255"/>
          <ac:spMkLst>
            <pc:docMk/>
            <pc:sldMk cId="786371180" sldId="2147469125"/>
            <ac:spMk id="20" creationId="{A44A4B6C-3E70-437F-A9A1-E532AF7D7D1F}"/>
          </ac:spMkLst>
        </pc:spChg>
        <pc:spChg chg="mod">
          <ac:chgData name="Hu, Xue" userId="b705685b-88d2-4eae-a369-da764440a623" providerId="ADAL" clId="{836550AA-E587-4A08-B5D6-C992D9D5AB4E}" dt="2022-07-12T03:33:52.804" v="37" actId="255"/>
          <ac:spMkLst>
            <pc:docMk/>
            <pc:sldMk cId="786371180" sldId="2147469125"/>
            <ac:spMk id="25" creationId="{DDE378D4-D661-4914-A0A1-2773AD4DE2C7}"/>
          </ac:spMkLst>
        </pc:spChg>
        <pc:spChg chg="mod">
          <ac:chgData name="Hu, Xue" userId="b705685b-88d2-4eae-a369-da764440a623" providerId="ADAL" clId="{836550AA-E587-4A08-B5D6-C992D9D5AB4E}" dt="2022-07-12T03:34:10.645" v="39" actId="255"/>
          <ac:spMkLst>
            <pc:docMk/>
            <pc:sldMk cId="786371180" sldId="2147469125"/>
            <ac:spMk id="28" creationId="{1CD373C0-91E7-4B8D-8586-24B749C12699}"/>
          </ac:spMkLst>
        </pc:spChg>
        <pc:grpChg chg="mod">
          <ac:chgData name="Hu, Xue" userId="b705685b-88d2-4eae-a369-da764440a623" providerId="ADAL" clId="{836550AA-E587-4A08-B5D6-C992D9D5AB4E}" dt="2022-07-12T03:36:12.561" v="51" actId="1076"/>
          <ac:grpSpMkLst>
            <pc:docMk/>
            <pc:sldMk cId="786371180" sldId="2147469125"/>
            <ac:grpSpMk id="13" creationId="{826214BD-2C4C-45A5-8904-36F3C481E0DE}"/>
          </ac:grpSpMkLst>
        </pc:grpChg>
      </pc:sldChg>
    </pc:docChg>
  </pc:docChgLst>
  <pc:docChgLst>
    <pc:chgData name="Liu, Ming" userId="b7dc4ee5-33d1-4788-a870-056b4dc25991" providerId="ADAL" clId="{5EFF649A-7FE7-4B99-AB17-D044B8F51299}"/>
    <pc:docChg chg="undo custSel modSld">
      <pc:chgData name="Liu, Ming" userId="b7dc4ee5-33d1-4788-a870-056b4dc25991" providerId="ADAL" clId="{5EFF649A-7FE7-4B99-AB17-D044B8F51299}" dt="2022-07-12T15:45:10.246" v="115" actId="255"/>
      <pc:docMkLst>
        <pc:docMk/>
      </pc:docMkLst>
      <pc:sldChg chg="delSp modSp mod">
        <pc:chgData name="Liu, Ming" userId="b7dc4ee5-33d1-4788-a870-056b4dc25991" providerId="ADAL" clId="{5EFF649A-7FE7-4B99-AB17-D044B8F51299}" dt="2022-07-12T15:32:04.434" v="62" actId="1076"/>
        <pc:sldMkLst>
          <pc:docMk/>
          <pc:sldMk cId="3388655607" sldId="2147469103"/>
        </pc:sldMkLst>
        <pc:spChg chg="mod topLvl">
          <ac:chgData name="Liu, Ming" userId="b7dc4ee5-33d1-4788-a870-056b4dc25991" providerId="ADAL" clId="{5EFF649A-7FE7-4B99-AB17-D044B8F51299}" dt="2022-07-12T15:15:30.934" v="10" actId="165"/>
          <ac:spMkLst>
            <pc:docMk/>
            <pc:sldMk cId="3388655607" sldId="2147469103"/>
            <ac:spMk id="108" creationId="{2787FF77-5E24-44B5-B87B-7AFD81100008}"/>
          </ac:spMkLst>
        </pc:spChg>
        <pc:spChg chg="mod topLvl">
          <ac:chgData name="Liu, Ming" userId="b7dc4ee5-33d1-4788-a870-056b4dc25991" providerId="ADAL" clId="{5EFF649A-7FE7-4B99-AB17-D044B8F51299}" dt="2022-07-12T15:15:30.934" v="10" actId="165"/>
          <ac:spMkLst>
            <pc:docMk/>
            <pc:sldMk cId="3388655607" sldId="2147469103"/>
            <ac:spMk id="111" creationId="{7319DE68-6D96-4EF1-A505-D8FA0A1BF453}"/>
          </ac:spMkLst>
        </pc:spChg>
        <pc:spChg chg="mod topLvl">
          <ac:chgData name="Liu, Ming" userId="b7dc4ee5-33d1-4788-a870-056b4dc25991" providerId="ADAL" clId="{5EFF649A-7FE7-4B99-AB17-D044B8F51299}" dt="2022-07-12T15:15:30.934" v="10" actId="165"/>
          <ac:spMkLst>
            <pc:docMk/>
            <pc:sldMk cId="3388655607" sldId="2147469103"/>
            <ac:spMk id="113" creationId="{3A4A6CC4-D1F8-4BBA-A76C-3F82B640467F}"/>
          </ac:spMkLst>
        </pc:spChg>
        <pc:spChg chg="mod topLvl">
          <ac:chgData name="Liu, Ming" userId="b7dc4ee5-33d1-4788-a870-056b4dc25991" providerId="ADAL" clId="{5EFF649A-7FE7-4B99-AB17-D044B8F51299}" dt="2022-07-12T15:15:30.934" v="10" actId="165"/>
          <ac:spMkLst>
            <pc:docMk/>
            <pc:sldMk cId="3388655607" sldId="2147469103"/>
            <ac:spMk id="114" creationId="{26594633-7BC9-47A4-8BC9-4BF8F10ECBD4}"/>
          </ac:spMkLst>
        </pc:spChg>
        <pc:spChg chg="mod topLvl">
          <ac:chgData name="Liu, Ming" userId="b7dc4ee5-33d1-4788-a870-056b4dc25991" providerId="ADAL" clId="{5EFF649A-7FE7-4B99-AB17-D044B8F51299}" dt="2022-07-12T15:30:39.474" v="56" actId="20577"/>
          <ac:spMkLst>
            <pc:docMk/>
            <pc:sldMk cId="3388655607" sldId="2147469103"/>
            <ac:spMk id="115" creationId="{74D01C88-6430-46A8-BAF4-07646F6355DF}"/>
          </ac:spMkLst>
        </pc:spChg>
        <pc:spChg chg="mod topLvl">
          <ac:chgData name="Liu, Ming" userId="b7dc4ee5-33d1-4788-a870-056b4dc25991" providerId="ADAL" clId="{5EFF649A-7FE7-4B99-AB17-D044B8F51299}" dt="2022-07-12T15:15:30.934" v="10" actId="165"/>
          <ac:spMkLst>
            <pc:docMk/>
            <pc:sldMk cId="3388655607" sldId="2147469103"/>
            <ac:spMk id="116" creationId="{AF5EDD4E-DA4C-42C5-92DD-38B845938563}"/>
          </ac:spMkLst>
        </pc:spChg>
        <pc:spChg chg="mod topLvl">
          <ac:chgData name="Liu, Ming" userId="b7dc4ee5-33d1-4788-a870-056b4dc25991" providerId="ADAL" clId="{5EFF649A-7FE7-4B99-AB17-D044B8F51299}" dt="2022-07-12T15:15:30.934" v="10" actId="165"/>
          <ac:spMkLst>
            <pc:docMk/>
            <pc:sldMk cId="3388655607" sldId="2147469103"/>
            <ac:spMk id="117" creationId="{D51A5400-AC3A-4BEA-9D4C-113FE45361E8}"/>
          </ac:spMkLst>
        </pc:spChg>
        <pc:spChg chg="mod topLvl">
          <ac:chgData name="Liu, Ming" userId="b7dc4ee5-33d1-4788-a870-056b4dc25991" providerId="ADAL" clId="{5EFF649A-7FE7-4B99-AB17-D044B8F51299}" dt="2022-07-12T15:15:30.934" v="10" actId="165"/>
          <ac:spMkLst>
            <pc:docMk/>
            <pc:sldMk cId="3388655607" sldId="2147469103"/>
            <ac:spMk id="118" creationId="{2DE3C767-75FD-4183-8631-E2EE3167F02B}"/>
          </ac:spMkLst>
        </pc:spChg>
        <pc:spChg chg="mod">
          <ac:chgData name="Liu, Ming" userId="b7dc4ee5-33d1-4788-a870-056b4dc25991" providerId="ADAL" clId="{5EFF649A-7FE7-4B99-AB17-D044B8F51299}" dt="2022-07-12T15:15:30.934" v="10" actId="165"/>
          <ac:spMkLst>
            <pc:docMk/>
            <pc:sldMk cId="3388655607" sldId="2147469103"/>
            <ac:spMk id="121" creationId="{A6A0F79F-6629-43C3-A231-3AC309E8E799}"/>
          </ac:spMkLst>
        </pc:spChg>
        <pc:spChg chg="mod">
          <ac:chgData name="Liu, Ming" userId="b7dc4ee5-33d1-4788-a870-056b4dc25991" providerId="ADAL" clId="{5EFF649A-7FE7-4B99-AB17-D044B8F51299}" dt="2022-07-12T15:15:30.934" v="10" actId="165"/>
          <ac:spMkLst>
            <pc:docMk/>
            <pc:sldMk cId="3388655607" sldId="2147469103"/>
            <ac:spMk id="123" creationId="{93196178-20EA-428B-BAA8-3489114F9B8D}"/>
          </ac:spMkLst>
        </pc:spChg>
        <pc:spChg chg="mod">
          <ac:chgData name="Liu, Ming" userId="b7dc4ee5-33d1-4788-a870-056b4dc25991" providerId="ADAL" clId="{5EFF649A-7FE7-4B99-AB17-D044B8F51299}" dt="2022-07-12T15:15:30.934" v="10" actId="165"/>
          <ac:spMkLst>
            <pc:docMk/>
            <pc:sldMk cId="3388655607" sldId="2147469103"/>
            <ac:spMk id="124" creationId="{13A37FCD-486C-40D7-BF54-310D6BEAA4B1}"/>
          </ac:spMkLst>
        </pc:spChg>
        <pc:spChg chg="mod">
          <ac:chgData name="Liu, Ming" userId="b7dc4ee5-33d1-4788-a870-056b4dc25991" providerId="ADAL" clId="{5EFF649A-7FE7-4B99-AB17-D044B8F51299}" dt="2022-07-12T15:15:30.934" v="10" actId="165"/>
          <ac:spMkLst>
            <pc:docMk/>
            <pc:sldMk cId="3388655607" sldId="2147469103"/>
            <ac:spMk id="125" creationId="{5D8DB5F0-13AC-41A2-834D-2CED2B4FA5AC}"/>
          </ac:spMkLst>
        </pc:spChg>
        <pc:spChg chg="mod">
          <ac:chgData name="Liu, Ming" userId="b7dc4ee5-33d1-4788-a870-056b4dc25991" providerId="ADAL" clId="{5EFF649A-7FE7-4B99-AB17-D044B8F51299}" dt="2022-07-12T15:15:30.934" v="10" actId="165"/>
          <ac:spMkLst>
            <pc:docMk/>
            <pc:sldMk cId="3388655607" sldId="2147469103"/>
            <ac:spMk id="126" creationId="{8E6D1E74-9C5C-41C2-9F47-015A15FA0237}"/>
          </ac:spMkLst>
        </pc:spChg>
        <pc:spChg chg="mod">
          <ac:chgData name="Liu, Ming" userId="b7dc4ee5-33d1-4788-a870-056b4dc25991" providerId="ADAL" clId="{5EFF649A-7FE7-4B99-AB17-D044B8F51299}" dt="2022-07-12T15:15:30.934" v="10" actId="165"/>
          <ac:spMkLst>
            <pc:docMk/>
            <pc:sldMk cId="3388655607" sldId="2147469103"/>
            <ac:spMk id="127" creationId="{1F640AB3-A055-4EAE-A3DC-79054D04D86F}"/>
          </ac:spMkLst>
        </pc:spChg>
        <pc:spChg chg="mod">
          <ac:chgData name="Liu, Ming" userId="b7dc4ee5-33d1-4788-a870-056b4dc25991" providerId="ADAL" clId="{5EFF649A-7FE7-4B99-AB17-D044B8F51299}" dt="2022-07-12T15:15:30.934" v="10" actId="165"/>
          <ac:spMkLst>
            <pc:docMk/>
            <pc:sldMk cId="3388655607" sldId="2147469103"/>
            <ac:spMk id="128" creationId="{F7FDE8C2-3863-4EC8-82F8-C4DB517DC14A}"/>
          </ac:spMkLst>
        </pc:spChg>
        <pc:spChg chg="mod">
          <ac:chgData name="Liu, Ming" userId="b7dc4ee5-33d1-4788-a870-056b4dc25991" providerId="ADAL" clId="{5EFF649A-7FE7-4B99-AB17-D044B8F51299}" dt="2022-07-12T15:15:30.934" v="10" actId="165"/>
          <ac:spMkLst>
            <pc:docMk/>
            <pc:sldMk cId="3388655607" sldId="2147469103"/>
            <ac:spMk id="130" creationId="{75BF2CE9-B315-49AC-AA37-4316B3BAECFF}"/>
          </ac:spMkLst>
        </pc:spChg>
        <pc:spChg chg="mod">
          <ac:chgData name="Liu, Ming" userId="b7dc4ee5-33d1-4788-a870-056b4dc25991" providerId="ADAL" clId="{5EFF649A-7FE7-4B99-AB17-D044B8F51299}" dt="2022-07-12T15:15:30.934" v="10" actId="165"/>
          <ac:spMkLst>
            <pc:docMk/>
            <pc:sldMk cId="3388655607" sldId="2147469103"/>
            <ac:spMk id="131" creationId="{5A9B90D3-50DC-4AF7-BF7A-10BCC3CE353E}"/>
          </ac:spMkLst>
        </pc:spChg>
        <pc:spChg chg="mod">
          <ac:chgData name="Liu, Ming" userId="b7dc4ee5-33d1-4788-a870-056b4dc25991" providerId="ADAL" clId="{5EFF649A-7FE7-4B99-AB17-D044B8F51299}" dt="2022-07-12T15:15:30.934" v="10" actId="165"/>
          <ac:spMkLst>
            <pc:docMk/>
            <pc:sldMk cId="3388655607" sldId="2147469103"/>
            <ac:spMk id="132" creationId="{08D71670-0C51-4FF0-8681-CAF5D7FE2C47}"/>
          </ac:spMkLst>
        </pc:spChg>
        <pc:spChg chg="mod">
          <ac:chgData name="Liu, Ming" userId="b7dc4ee5-33d1-4788-a870-056b4dc25991" providerId="ADAL" clId="{5EFF649A-7FE7-4B99-AB17-D044B8F51299}" dt="2022-07-12T15:15:30.934" v="10" actId="165"/>
          <ac:spMkLst>
            <pc:docMk/>
            <pc:sldMk cId="3388655607" sldId="2147469103"/>
            <ac:spMk id="133" creationId="{0C6B1BEB-D3B8-4646-95AD-2C8CC06833D8}"/>
          </ac:spMkLst>
        </pc:spChg>
        <pc:spChg chg="mod">
          <ac:chgData name="Liu, Ming" userId="b7dc4ee5-33d1-4788-a870-056b4dc25991" providerId="ADAL" clId="{5EFF649A-7FE7-4B99-AB17-D044B8F51299}" dt="2022-07-12T15:15:30.934" v="10" actId="165"/>
          <ac:spMkLst>
            <pc:docMk/>
            <pc:sldMk cId="3388655607" sldId="2147469103"/>
            <ac:spMk id="134" creationId="{C8C2372E-9208-4596-814B-3C3BA1E03287}"/>
          </ac:spMkLst>
        </pc:spChg>
        <pc:spChg chg="mod topLvl">
          <ac:chgData name="Liu, Ming" userId="b7dc4ee5-33d1-4788-a870-056b4dc25991" providerId="ADAL" clId="{5EFF649A-7FE7-4B99-AB17-D044B8F51299}" dt="2022-07-12T15:15:30.934" v="10" actId="165"/>
          <ac:spMkLst>
            <pc:docMk/>
            <pc:sldMk cId="3388655607" sldId="2147469103"/>
            <ac:spMk id="136" creationId="{BE7E172F-8657-46AF-BCE9-B6898D761D9B}"/>
          </ac:spMkLst>
        </pc:spChg>
        <pc:spChg chg="mod topLvl">
          <ac:chgData name="Liu, Ming" userId="b7dc4ee5-33d1-4788-a870-056b4dc25991" providerId="ADAL" clId="{5EFF649A-7FE7-4B99-AB17-D044B8F51299}" dt="2022-07-12T15:15:39.661" v="11" actId="165"/>
          <ac:spMkLst>
            <pc:docMk/>
            <pc:sldMk cId="3388655607" sldId="2147469103"/>
            <ac:spMk id="137" creationId="{5407BE8F-D592-47C4-8226-A007EE5C9DE3}"/>
          </ac:spMkLst>
        </pc:spChg>
        <pc:spChg chg="mod topLvl">
          <ac:chgData name="Liu, Ming" userId="b7dc4ee5-33d1-4788-a870-056b4dc25991" providerId="ADAL" clId="{5EFF649A-7FE7-4B99-AB17-D044B8F51299}" dt="2022-07-12T15:15:39.661" v="11" actId="165"/>
          <ac:spMkLst>
            <pc:docMk/>
            <pc:sldMk cId="3388655607" sldId="2147469103"/>
            <ac:spMk id="138" creationId="{068A3FAE-494B-46DB-ACA9-9B4E10CC1458}"/>
          </ac:spMkLst>
        </pc:spChg>
        <pc:spChg chg="mod topLvl">
          <ac:chgData name="Liu, Ming" userId="b7dc4ee5-33d1-4788-a870-056b4dc25991" providerId="ADAL" clId="{5EFF649A-7FE7-4B99-AB17-D044B8F51299}" dt="2022-07-12T15:15:39.661" v="11" actId="165"/>
          <ac:spMkLst>
            <pc:docMk/>
            <pc:sldMk cId="3388655607" sldId="2147469103"/>
            <ac:spMk id="139" creationId="{7E9B40CD-FE5E-43A6-AD51-BF5CA89C3029}"/>
          </ac:spMkLst>
        </pc:spChg>
        <pc:spChg chg="mod">
          <ac:chgData name="Liu, Ming" userId="b7dc4ee5-33d1-4788-a870-056b4dc25991" providerId="ADAL" clId="{5EFF649A-7FE7-4B99-AB17-D044B8F51299}" dt="2022-07-12T15:32:04.434" v="62" actId="1076"/>
          <ac:spMkLst>
            <pc:docMk/>
            <pc:sldMk cId="3388655607" sldId="2147469103"/>
            <ac:spMk id="144" creationId="{7EFC72D9-984D-4D37-9650-3B0D76478D43}"/>
          </ac:spMkLst>
        </pc:spChg>
        <pc:grpChg chg="del">
          <ac:chgData name="Liu, Ming" userId="b7dc4ee5-33d1-4788-a870-056b4dc25991" providerId="ADAL" clId="{5EFF649A-7FE7-4B99-AB17-D044B8F51299}" dt="2022-07-12T15:15:30.934" v="10" actId="165"/>
          <ac:grpSpMkLst>
            <pc:docMk/>
            <pc:sldMk cId="3388655607" sldId="2147469103"/>
            <ac:grpSpMk id="107" creationId="{7DA62BF3-7F6F-41F6-B9B0-8098D9DD8DFF}"/>
          </ac:grpSpMkLst>
        </pc:grpChg>
        <pc:grpChg chg="del mod topLvl">
          <ac:chgData name="Liu, Ming" userId="b7dc4ee5-33d1-4788-a870-056b4dc25991" providerId="ADAL" clId="{5EFF649A-7FE7-4B99-AB17-D044B8F51299}" dt="2022-07-12T15:15:39.661" v="11" actId="165"/>
          <ac:grpSpMkLst>
            <pc:docMk/>
            <pc:sldMk cId="3388655607" sldId="2147469103"/>
            <ac:grpSpMk id="109" creationId="{8E94B1E1-035B-4429-AB05-FF9CC94D9583}"/>
          </ac:grpSpMkLst>
        </pc:grpChg>
        <pc:grpChg chg="mod topLvl">
          <ac:chgData name="Liu, Ming" userId="b7dc4ee5-33d1-4788-a870-056b4dc25991" providerId="ADAL" clId="{5EFF649A-7FE7-4B99-AB17-D044B8F51299}" dt="2022-07-12T15:15:30.934" v="10" actId="165"/>
          <ac:grpSpMkLst>
            <pc:docMk/>
            <pc:sldMk cId="3388655607" sldId="2147469103"/>
            <ac:grpSpMk id="119" creationId="{0E124B28-A5E6-4DDE-907F-F9BBF3F3E182}"/>
          </ac:grpSpMkLst>
        </pc:grpChg>
        <pc:grpChg chg="mod topLvl">
          <ac:chgData name="Liu, Ming" userId="b7dc4ee5-33d1-4788-a870-056b4dc25991" providerId="ADAL" clId="{5EFF649A-7FE7-4B99-AB17-D044B8F51299}" dt="2022-07-12T15:15:30.934" v="10" actId="165"/>
          <ac:grpSpMkLst>
            <pc:docMk/>
            <pc:sldMk cId="3388655607" sldId="2147469103"/>
            <ac:grpSpMk id="120" creationId="{6B85E759-0A6C-4F14-A2D5-3BDF05C19E4B}"/>
          </ac:grpSpMkLst>
        </pc:grpChg>
        <pc:grpChg chg="mod">
          <ac:chgData name="Liu, Ming" userId="b7dc4ee5-33d1-4788-a870-056b4dc25991" providerId="ADAL" clId="{5EFF649A-7FE7-4B99-AB17-D044B8F51299}" dt="2022-07-12T15:15:30.934" v="10" actId="165"/>
          <ac:grpSpMkLst>
            <pc:docMk/>
            <pc:sldMk cId="3388655607" sldId="2147469103"/>
            <ac:grpSpMk id="122" creationId="{BEEF86D6-80D2-42CE-B432-E0D9C342FE53}"/>
          </ac:grpSpMkLst>
        </pc:grpChg>
        <pc:grpChg chg="mod">
          <ac:chgData name="Liu, Ming" userId="b7dc4ee5-33d1-4788-a870-056b4dc25991" providerId="ADAL" clId="{5EFF649A-7FE7-4B99-AB17-D044B8F51299}" dt="2022-07-12T15:15:30.934" v="10" actId="165"/>
          <ac:grpSpMkLst>
            <pc:docMk/>
            <pc:sldMk cId="3388655607" sldId="2147469103"/>
            <ac:grpSpMk id="129" creationId="{1BAD20D7-4D3A-4FA9-A4E6-274405FB90DB}"/>
          </ac:grpSpMkLst>
        </pc:grpChg>
        <pc:graphicFrameChg chg="mod topLvl">
          <ac:chgData name="Liu, Ming" userId="b7dc4ee5-33d1-4788-a870-056b4dc25991" providerId="ADAL" clId="{5EFF649A-7FE7-4B99-AB17-D044B8F51299}" dt="2022-07-12T15:15:30.934" v="10" actId="165"/>
          <ac:graphicFrameMkLst>
            <pc:docMk/>
            <pc:sldMk cId="3388655607" sldId="2147469103"/>
            <ac:graphicFrameMk id="112" creationId="{E8D1D085-F5ED-4657-81E7-80B1FE19F569}"/>
          </ac:graphicFrameMkLst>
        </pc:graphicFrameChg>
      </pc:sldChg>
      <pc:sldChg chg="modSp mod">
        <pc:chgData name="Liu, Ming" userId="b7dc4ee5-33d1-4788-a870-056b4dc25991" providerId="ADAL" clId="{5EFF649A-7FE7-4B99-AB17-D044B8F51299}" dt="2022-07-12T15:45:10.246" v="115" actId="255"/>
        <pc:sldMkLst>
          <pc:docMk/>
          <pc:sldMk cId="3599480056" sldId="2147469104"/>
        </pc:sldMkLst>
        <pc:spChg chg="mod">
          <ac:chgData name="Liu, Ming" userId="b7dc4ee5-33d1-4788-a870-056b4dc25991" providerId="ADAL" clId="{5EFF649A-7FE7-4B99-AB17-D044B8F51299}" dt="2022-07-12T15:45:10.246" v="115" actId="255"/>
          <ac:spMkLst>
            <pc:docMk/>
            <pc:sldMk cId="3599480056" sldId="2147469104"/>
            <ac:spMk id="55" creationId="{8273B1A1-5516-4CA8-9AB8-8291370C4C10}"/>
          </ac:spMkLst>
        </pc:spChg>
      </pc:sldChg>
      <pc:sldChg chg="modSp mod">
        <pc:chgData name="Liu, Ming" userId="b7dc4ee5-33d1-4788-a870-056b4dc25991" providerId="ADAL" clId="{5EFF649A-7FE7-4B99-AB17-D044B8F51299}" dt="2022-07-12T15:31:35.172" v="61" actId="20577"/>
        <pc:sldMkLst>
          <pc:docMk/>
          <pc:sldMk cId="378650186" sldId="2147469106"/>
        </pc:sldMkLst>
        <pc:spChg chg="mod">
          <ac:chgData name="Liu, Ming" userId="b7dc4ee5-33d1-4788-a870-056b4dc25991" providerId="ADAL" clId="{5EFF649A-7FE7-4B99-AB17-D044B8F51299}" dt="2022-07-12T15:31:35.172" v="61" actId="20577"/>
          <ac:spMkLst>
            <pc:docMk/>
            <pc:sldMk cId="378650186" sldId="2147469106"/>
            <ac:spMk id="43" creationId="{D64BC027-0762-40DD-8205-F73F873DA322}"/>
          </ac:spMkLst>
        </pc:spChg>
      </pc:sldChg>
      <pc:sldChg chg="modSp mod">
        <pc:chgData name="Liu, Ming" userId="b7dc4ee5-33d1-4788-a870-056b4dc25991" providerId="ADAL" clId="{5EFF649A-7FE7-4B99-AB17-D044B8F51299}" dt="2022-07-12T15:35:35.284" v="113" actId="1035"/>
        <pc:sldMkLst>
          <pc:docMk/>
          <pc:sldMk cId="195541985" sldId="2147469107"/>
        </pc:sldMkLst>
        <pc:spChg chg="mod">
          <ac:chgData name="Liu, Ming" userId="b7dc4ee5-33d1-4788-a870-056b4dc25991" providerId="ADAL" clId="{5EFF649A-7FE7-4B99-AB17-D044B8F51299}" dt="2022-07-12T15:35:35.284" v="113" actId="1035"/>
          <ac:spMkLst>
            <pc:docMk/>
            <pc:sldMk cId="195541985" sldId="2147469107"/>
            <ac:spMk id="65" creationId="{7CFC3D5D-51E4-48AF-82C0-DE9DCFE17098}"/>
          </ac:spMkLst>
        </pc:spChg>
      </pc:sldChg>
      <pc:sldChg chg="addSp modSp mod">
        <pc:chgData name="Liu, Ming" userId="b7dc4ee5-33d1-4788-a870-056b4dc25991" providerId="ADAL" clId="{5EFF649A-7FE7-4B99-AB17-D044B8F51299}" dt="2022-07-12T15:33:20.887" v="111" actId="20577"/>
        <pc:sldMkLst>
          <pc:docMk/>
          <pc:sldMk cId="266915946" sldId="2147469119"/>
        </pc:sldMkLst>
        <pc:spChg chg="mod">
          <ac:chgData name="Liu, Ming" userId="b7dc4ee5-33d1-4788-a870-056b4dc25991" providerId="ADAL" clId="{5EFF649A-7FE7-4B99-AB17-D044B8F51299}" dt="2022-07-12T15:28:36.862" v="51" actId="113"/>
          <ac:spMkLst>
            <pc:docMk/>
            <pc:sldMk cId="266915946" sldId="2147469119"/>
            <ac:spMk id="8" creationId="{ABCE91F3-D7FE-40CF-9EC1-F78791312E6D}"/>
          </ac:spMkLst>
        </pc:spChg>
        <pc:spChg chg="mod">
          <ac:chgData name="Liu, Ming" userId="b7dc4ee5-33d1-4788-a870-056b4dc25991" providerId="ADAL" clId="{5EFF649A-7FE7-4B99-AB17-D044B8F51299}" dt="2022-07-12T15:28:33.553" v="48" actId="113"/>
          <ac:spMkLst>
            <pc:docMk/>
            <pc:sldMk cId="266915946" sldId="2147469119"/>
            <ac:spMk id="18" creationId="{E9F545D4-CC11-4B0E-BFFC-938BD9A0B5DB}"/>
          </ac:spMkLst>
        </pc:spChg>
        <pc:spChg chg="add mod">
          <ac:chgData name="Liu, Ming" userId="b7dc4ee5-33d1-4788-a870-056b4dc25991" providerId="ADAL" clId="{5EFF649A-7FE7-4B99-AB17-D044B8F51299}" dt="2022-07-12T15:33:20.887" v="111" actId="20577"/>
          <ac:spMkLst>
            <pc:docMk/>
            <pc:sldMk cId="266915946" sldId="2147469119"/>
            <ac:spMk id="20" creationId="{0896763C-EFAA-4636-986F-FB97C51B9DF4}"/>
          </ac:spMkLst>
        </pc:spChg>
      </pc:sldChg>
    </pc:docChg>
  </pc:docChgLst>
  <pc:docChgLst>
    <pc:chgData name="Hu, Xue" userId="b705685b-88d2-4eae-a369-da764440a623" providerId="ADAL" clId="{6B781EA7-BC8D-453D-87EA-FC373EC7CAFA}"/>
    <pc:docChg chg="undo custSel modSld">
      <pc:chgData name="Hu, Xue" userId="b705685b-88d2-4eae-a369-da764440a623" providerId="ADAL" clId="{6B781EA7-BC8D-453D-87EA-FC373EC7CAFA}" dt="2022-07-12T14:50:57.544" v="149" actId="1035"/>
      <pc:docMkLst>
        <pc:docMk/>
      </pc:docMkLst>
      <pc:sldChg chg="delSp mod">
        <pc:chgData name="Hu, Xue" userId="b705685b-88d2-4eae-a369-da764440a623" providerId="ADAL" clId="{6B781EA7-BC8D-453D-87EA-FC373EC7CAFA}" dt="2022-07-12T11:34:23.041" v="0" actId="478"/>
        <pc:sldMkLst>
          <pc:docMk/>
          <pc:sldMk cId="4111907649" sldId="256"/>
        </pc:sldMkLst>
        <pc:spChg chg="del">
          <ac:chgData name="Hu, Xue" userId="b705685b-88d2-4eae-a369-da764440a623" providerId="ADAL" clId="{6B781EA7-BC8D-453D-87EA-FC373EC7CAFA}" dt="2022-07-12T11:34:23.041" v="0" actId="478"/>
          <ac:spMkLst>
            <pc:docMk/>
            <pc:sldMk cId="4111907649" sldId="256"/>
            <ac:spMk id="2" creationId="{3E0007E9-3916-4537-97BC-846EDE0EBF6B}"/>
          </ac:spMkLst>
        </pc:spChg>
      </pc:sldChg>
      <pc:sldChg chg="delSp mod">
        <pc:chgData name="Hu, Xue" userId="b705685b-88d2-4eae-a369-da764440a623" providerId="ADAL" clId="{6B781EA7-BC8D-453D-87EA-FC373EC7CAFA}" dt="2022-07-12T11:34:26.718" v="1" actId="478"/>
        <pc:sldMkLst>
          <pc:docMk/>
          <pc:sldMk cId="3866271489" sldId="2132861786"/>
        </pc:sldMkLst>
        <pc:spChg chg="del">
          <ac:chgData name="Hu, Xue" userId="b705685b-88d2-4eae-a369-da764440a623" providerId="ADAL" clId="{6B781EA7-BC8D-453D-87EA-FC373EC7CAFA}" dt="2022-07-12T11:34:26.718" v="1" actId="478"/>
          <ac:spMkLst>
            <pc:docMk/>
            <pc:sldMk cId="3866271489" sldId="2132861786"/>
            <ac:spMk id="37" creationId="{5F732E6F-C9F3-4EE7-B3DF-7A8DA63F923F}"/>
          </ac:spMkLst>
        </pc:spChg>
      </pc:sldChg>
      <pc:sldChg chg="modSp mod">
        <pc:chgData name="Hu, Xue" userId="b705685b-88d2-4eae-a369-da764440a623" providerId="ADAL" clId="{6B781EA7-BC8D-453D-87EA-FC373EC7CAFA}" dt="2022-07-12T11:34:35.892" v="3" actId="20577"/>
        <pc:sldMkLst>
          <pc:docMk/>
          <pc:sldMk cId="3388655607" sldId="2147469103"/>
        </pc:sldMkLst>
        <pc:spChg chg="mod">
          <ac:chgData name="Hu, Xue" userId="b705685b-88d2-4eae-a369-da764440a623" providerId="ADAL" clId="{6B781EA7-BC8D-453D-87EA-FC373EC7CAFA}" dt="2022-07-12T11:34:35.892" v="3" actId="20577"/>
          <ac:spMkLst>
            <pc:docMk/>
            <pc:sldMk cId="3388655607" sldId="2147469103"/>
            <ac:spMk id="59" creationId="{CEFB7975-254F-41E2-8C8D-962317990310}"/>
          </ac:spMkLst>
        </pc:spChg>
      </pc:sldChg>
      <pc:sldChg chg="modSp mod">
        <pc:chgData name="Hu, Xue" userId="b705685b-88d2-4eae-a369-da764440a623" providerId="ADAL" clId="{6B781EA7-BC8D-453D-87EA-FC373EC7CAFA}" dt="2022-07-12T11:34:56.001" v="5" actId="20577"/>
        <pc:sldMkLst>
          <pc:docMk/>
          <pc:sldMk cId="3599480056" sldId="2147469104"/>
        </pc:sldMkLst>
        <pc:spChg chg="mod">
          <ac:chgData name="Hu, Xue" userId="b705685b-88d2-4eae-a369-da764440a623" providerId="ADAL" clId="{6B781EA7-BC8D-453D-87EA-FC373EC7CAFA}" dt="2022-07-12T11:34:56.001" v="5" actId="20577"/>
          <ac:spMkLst>
            <pc:docMk/>
            <pc:sldMk cId="3599480056" sldId="2147469104"/>
            <ac:spMk id="18" creationId="{D21B31AB-D39F-4790-A54B-85FAFD1155B2}"/>
          </ac:spMkLst>
        </pc:spChg>
      </pc:sldChg>
      <pc:sldChg chg="modSp mod">
        <pc:chgData name="Hu, Xue" userId="b705685b-88d2-4eae-a369-da764440a623" providerId="ADAL" clId="{6B781EA7-BC8D-453D-87EA-FC373EC7CAFA}" dt="2022-07-12T14:50:57.544" v="149" actId="1035"/>
        <pc:sldMkLst>
          <pc:docMk/>
          <pc:sldMk cId="378650186" sldId="2147469106"/>
        </pc:sldMkLst>
        <pc:spChg chg="mod">
          <ac:chgData name="Hu, Xue" userId="b705685b-88d2-4eae-a369-da764440a623" providerId="ADAL" clId="{6B781EA7-BC8D-453D-87EA-FC373EC7CAFA}" dt="2022-07-12T11:37:40.782" v="34" actId="1076"/>
          <ac:spMkLst>
            <pc:docMk/>
            <pc:sldMk cId="378650186" sldId="2147469106"/>
            <ac:spMk id="32" creationId="{6B899A4A-BB6C-4495-88E0-1C43FEF541FE}"/>
          </ac:spMkLst>
        </pc:spChg>
        <pc:spChg chg="mod">
          <ac:chgData name="Hu, Xue" userId="b705685b-88d2-4eae-a369-da764440a623" providerId="ADAL" clId="{6B781EA7-BC8D-453D-87EA-FC373EC7CAFA}" dt="2022-07-12T14:50:57.544" v="149" actId="1035"/>
          <ac:spMkLst>
            <pc:docMk/>
            <pc:sldMk cId="378650186" sldId="2147469106"/>
            <ac:spMk id="90" creationId="{938BA836-E4A0-4CBA-B67F-79C622D696D7}"/>
          </ac:spMkLst>
        </pc:spChg>
      </pc:sldChg>
      <pc:sldChg chg="modSp mod">
        <pc:chgData name="Hu, Xue" userId="b705685b-88d2-4eae-a369-da764440a623" providerId="ADAL" clId="{6B781EA7-BC8D-453D-87EA-FC373EC7CAFA}" dt="2022-07-12T11:39:54.192" v="146" actId="20577"/>
        <pc:sldMkLst>
          <pc:docMk/>
          <pc:sldMk cId="195541985" sldId="2147469107"/>
        </pc:sldMkLst>
        <pc:spChg chg="mod">
          <ac:chgData name="Hu, Xue" userId="b705685b-88d2-4eae-a369-da764440a623" providerId="ADAL" clId="{6B781EA7-BC8D-453D-87EA-FC373EC7CAFA}" dt="2022-07-12T11:39:54.192" v="146" actId="20577"/>
          <ac:spMkLst>
            <pc:docMk/>
            <pc:sldMk cId="195541985" sldId="2147469107"/>
            <ac:spMk id="22" creationId="{5FD02D0D-263F-47CA-B44B-60D6054FEA5F}"/>
          </ac:spMkLst>
        </pc:spChg>
        <pc:spChg chg="mod">
          <ac:chgData name="Hu, Xue" userId="b705685b-88d2-4eae-a369-da764440a623" providerId="ADAL" clId="{6B781EA7-BC8D-453D-87EA-FC373EC7CAFA}" dt="2022-07-12T11:39:15.432" v="126" actId="115"/>
          <ac:spMkLst>
            <pc:docMk/>
            <pc:sldMk cId="195541985" sldId="2147469107"/>
            <ac:spMk id="32" creationId="{592DB376-97B1-47B5-A8D5-C06DA14C3A63}"/>
          </ac:spMkLst>
        </pc:spChg>
        <pc:spChg chg="mod">
          <ac:chgData name="Hu, Xue" userId="b705685b-88d2-4eae-a369-da764440a623" providerId="ADAL" clId="{6B781EA7-BC8D-453D-87EA-FC373EC7CAFA}" dt="2022-07-12T11:36:25.304" v="21" actId="255"/>
          <ac:spMkLst>
            <pc:docMk/>
            <pc:sldMk cId="195541985" sldId="2147469107"/>
            <ac:spMk id="35" creationId="{72A8BF74-DF41-4F0F-89F7-F3029474F6BF}"/>
          </ac:spMkLst>
        </pc:spChg>
      </pc:sldChg>
      <pc:sldChg chg="modSp mod">
        <pc:chgData name="Hu, Xue" userId="b705685b-88d2-4eae-a369-da764440a623" providerId="ADAL" clId="{6B781EA7-BC8D-453D-87EA-FC373EC7CAFA}" dt="2022-07-12T11:37:49.898" v="35" actId="1076"/>
        <pc:sldMkLst>
          <pc:docMk/>
          <pc:sldMk cId="1639535235" sldId="2147469118"/>
        </pc:sldMkLst>
        <pc:spChg chg="mod">
          <ac:chgData name="Hu, Xue" userId="b705685b-88d2-4eae-a369-da764440a623" providerId="ADAL" clId="{6B781EA7-BC8D-453D-87EA-FC373EC7CAFA}" dt="2022-07-12T11:37:49.898" v="35" actId="1076"/>
          <ac:spMkLst>
            <pc:docMk/>
            <pc:sldMk cId="1639535235" sldId="2147469118"/>
            <ac:spMk id="40" creationId="{24D4A88B-D9C6-4A35-A0AE-16E7F8CA8685}"/>
          </ac:spMkLst>
        </pc:spChg>
      </pc:sldChg>
      <pc:sldChg chg="modSp mod">
        <pc:chgData name="Hu, Xue" userId="b705685b-88d2-4eae-a369-da764440a623" providerId="ADAL" clId="{6B781EA7-BC8D-453D-87EA-FC373EC7CAFA}" dt="2022-07-12T11:38:08.262" v="44" actId="1037"/>
        <pc:sldMkLst>
          <pc:docMk/>
          <pc:sldMk cId="266915946" sldId="2147469119"/>
        </pc:sldMkLst>
        <pc:spChg chg="mod">
          <ac:chgData name="Hu, Xue" userId="b705685b-88d2-4eae-a369-da764440a623" providerId="ADAL" clId="{6B781EA7-BC8D-453D-87EA-FC373EC7CAFA}" dt="2022-07-12T11:38:08.262" v="44" actId="1037"/>
          <ac:spMkLst>
            <pc:docMk/>
            <pc:sldMk cId="266915946" sldId="2147469119"/>
            <ac:spMk id="17" creationId="{60FF8B53-2954-4150-90FC-3A5CF7D1210F}"/>
          </ac:spMkLst>
        </pc:spChg>
      </pc:sldChg>
      <pc:sldChg chg="modSp mod">
        <pc:chgData name="Hu, Xue" userId="b705685b-88d2-4eae-a369-da764440a623" providerId="ADAL" clId="{6B781EA7-BC8D-453D-87EA-FC373EC7CAFA}" dt="2022-07-12T11:35:37.552" v="14" actId="1076"/>
        <pc:sldMkLst>
          <pc:docMk/>
          <pc:sldMk cId="1723409729" sldId="2147469122"/>
        </pc:sldMkLst>
        <pc:spChg chg="mod">
          <ac:chgData name="Hu, Xue" userId="b705685b-88d2-4eae-a369-da764440a623" providerId="ADAL" clId="{6B781EA7-BC8D-453D-87EA-FC373EC7CAFA}" dt="2022-07-12T11:35:37.552" v="14" actId="1076"/>
          <ac:spMkLst>
            <pc:docMk/>
            <pc:sldMk cId="1723409729" sldId="2147469122"/>
            <ac:spMk id="17" creationId="{C7764B7B-0123-4B51-AFDE-1E64BF62D0C7}"/>
          </ac:spMkLst>
        </pc:spChg>
      </pc:sldChg>
      <pc:sldChg chg="modSp mod">
        <pc:chgData name="Hu, Xue" userId="b705685b-88d2-4eae-a369-da764440a623" providerId="ADAL" clId="{6B781EA7-BC8D-453D-87EA-FC373EC7CAFA}" dt="2022-07-12T11:36:09.019" v="18" actId="255"/>
        <pc:sldMkLst>
          <pc:docMk/>
          <pc:sldMk cId="183527708" sldId="2147469123"/>
        </pc:sldMkLst>
        <pc:spChg chg="mod">
          <ac:chgData name="Hu, Xue" userId="b705685b-88d2-4eae-a369-da764440a623" providerId="ADAL" clId="{6B781EA7-BC8D-453D-87EA-FC373EC7CAFA}" dt="2022-07-12T11:36:09.019" v="18" actId="255"/>
          <ac:spMkLst>
            <pc:docMk/>
            <pc:sldMk cId="183527708" sldId="2147469123"/>
            <ac:spMk id="19" creationId="{2F76BE27-F68E-4B58-A0B5-F8C6D25D2533}"/>
          </ac:spMkLst>
        </pc:spChg>
      </pc:sldChg>
      <pc:sldChg chg="modSp mod">
        <pc:chgData name="Hu, Xue" userId="b705685b-88d2-4eae-a369-da764440a623" providerId="ADAL" clId="{6B781EA7-BC8D-453D-87EA-FC373EC7CAFA}" dt="2022-07-12T11:35:55.901" v="16" actId="255"/>
        <pc:sldMkLst>
          <pc:docMk/>
          <pc:sldMk cId="2434492675" sldId="2147469124"/>
        </pc:sldMkLst>
        <pc:spChg chg="mod">
          <ac:chgData name="Hu, Xue" userId="b705685b-88d2-4eae-a369-da764440a623" providerId="ADAL" clId="{6B781EA7-BC8D-453D-87EA-FC373EC7CAFA}" dt="2022-07-12T11:35:55.901" v="16" actId="255"/>
          <ac:spMkLst>
            <pc:docMk/>
            <pc:sldMk cId="2434492675" sldId="2147469124"/>
            <ac:spMk id="32" creationId="{D2403E62-A964-4C06-8129-253A045BF62F}"/>
          </ac:spMkLst>
        </pc:spChg>
      </pc:sldChg>
      <pc:sldChg chg="modSp mod">
        <pc:chgData name="Hu, Xue" userId="b705685b-88d2-4eae-a369-da764440a623" providerId="ADAL" clId="{6B781EA7-BC8D-453D-87EA-FC373EC7CAFA}" dt="2022-07-12T11:35:08.040" v="7" actId="20577"/>
        <pc:sldMkLst>
          <pc:docMk/>
          <pc:sldMk cId="786371180" sldId="2147469125"/>
        </pc:sldMkLst>
        <pc:spChg chg="mod">
          <ac:chgData name="Hu, Xue" userId="b705685b-88d2-4eae-a369-da764440a623" providerId="ADAL" clId="{6B781EA7-BC8D-453D-87EA-FC373EC7CAFA}" dt="2022-07-12T11:35:08.040" v="7" actId="20577"/>
          <ac:spMkLst>
            <pc:docMk/>
            <pc:sldMk cId="786371180" sldId="2147469125"/>
            <ac:spMk id="30" creationId="{11CF51C8-6DB4-46D0-B07E-369C070C5C1B}"/>
          </ac:spMkLst>
        </pc:spChg>
      </pc:sldChg>
    </pc:docChg>
  </pc:docChgLst>
  <pc:docChgLst>
    <pc:chgData name="Liu, Ming" userId="b7dc4ee5-33d1-4788-a870-056b4dc25991" providerId="ADAL" clId="{D2656EA5-A294-45EF-891B-96701C83D426}"/>
    <pc:docChg chg="custSel delSld modSld">
      <pc:chgData name="Liu, Ming" userId="b7dc4ee5-33d1-4788-a870-056b4dc25991" providerId="ADAL" clId="{D2656EA5-A294-45EF-891B-96701C83D426}" dt="2022-07-12T15:52:59.865" v="21" actId="1076"/>
      <pc:docMkLst>
        <pc:docMk/>
      </pc:docMkLst>
      <pc:sldChg chg="delSp modSp mod">
        <pc:chgData name="Liu, Ming" userId="b7dc4ee5-33d1-4788-a870-056b4dc25991" providerId="ADAL" clId="{D2656EA5-A294-45EF-891B-96701C83D426}" dt="2022-07-12T15:52:59.865" v="21" actId="1076"/>
        <pc:sldMkLst>
          <pc:docMk/>
          <pc:sldMk cId="3866271489" sldId="2132861786"/>
        </pc:sldMkLst>
        <pc:spChg chg="mod">
          <ac:chgData name="Liu, Ming" userId="b7dc4ee5-33d1-4788-a870-056b4dc25991" providerId="ADAL" clId="{D2656EA5-A294-45EF-891B-96701C83D426}" dt="2022-07-12T15:52:30.873" v="15" actId="20577"/>
          <ac:spMkLst>
            <pc:docMk/>
            <pc:sldMk cId="3866271489" sldId="2132861786"/>
            <ac:spMk id="30" creationId="{942F4C40-D700-4756-9EDE-76EE0B43495D}"/>
          </ac:spMkLst>
        </pc:spChg>
        <pc:spChg chg="mod">
          <ac:chgData name="Liu, Ming" userId="b7dc4ee5-33d1-4788-a870-056b4dc25991" providerId="ADAL" clId="{D2656EA5-A294-45EF-891B-96701C83D426}" dt="2022-07-12T15:52:59.865" v="21" actId="1076"/>
          <ac:spMkLst>
            <pc:docMk/>
            <pc:sldMk cId="3866271489" sldId="2132861786"/>
            <ac:spMk id="31" creationId="{12759895-A186-489E-A671-60565BC3F12A}"/>
          </ac:spMkLst>
        </pc:spChg>
        <pc:spChg chg="mod">
          <ac:chgData name="Liu, Ming" userId="b7dc4ee5-33d1-4788-a870-056b4dc25991" providerId="ADAL" clId="{D2656EA5-A294-45EF-891B-96701C83D426}" dt="2022-07-12T15:52:49.588" v="19" actId="1076"/>
          <ac:spMkLst>
            <pc:docMk/>
            <pc:sldMk cId="3866271489" sldId="2132861786"/>
            <ac:spMk id="35" creationId="{42AF7044-AC1E-44C9-ADCF-13A3D5920EA7}"/>
          </ac:spMkLst>
        </pc:spChg>
        <pc:grpChg chg="del">
          <ac:chgData name="Liu, Ming" userId="b7dc4ee5-33d1-4788-a870-056b4dc25991" providerId="ADAL" clId="{D2656EA5-A294-45EF-891B-96701C83D426}" dt="2022-07-12T15:51:55.752" v="8" actId="478"/>
          <ac:grpSpMkLst>
            <pc:docMk/>
            <pc:sldMk cId="3866271489" sldId="2132861786"/>
            <ac:grpSpMk id="22" creationId="{E17AABF7-0D29-415A-B80C-94F9DAB19D9E}"/>
          </ac:grpSpMkLst>
        </pc:grpChg>
        <pc:grpChg chg="mod">
          <ac:chgData name="Liu, Ming" userId="b7dc4ee5-33d1-4788-a870-056b4dc25991" providerId="ADAL" clId="{D2656EA5-A294-45EF-891B-96701C83D426}" dt="2022-07-12T15:52:08.466" v="10" actId="1076"/>
          <ac:grpSpMkLst>
            <pc:docMk/>
            <pc:sldMk cId="3866271489" sldId="2132861786"/>
            <ac:grpSpMk id="28" creationId="{A4B83F46-6EB3-4715-84C2-65D835AEAB9F}"/>
          </ac:grpSpMkLst>
        </pc:grpChg>
        <pc:grpChg chg="mod">
          <ac:chgData name="Liu, Ming" userId="b7dc4ee5-33d1-4788-a870-056b4dc25991" providerId="ADAL" clId="{D2656EA5-A294-45EF-891B-96701C83D426}" dt="2022-07-12T15:52:41.989" v="18" actId="1076"/>
          <ac:grpSpMkLst>
            <pc:docMk/>
            <pc:sldMk cId="3866271489" sldId="2132861786"/>
            <ac:grpSpMk id="33" creationId="{E1F4B548-24A3-4D42-AAEF-EA8EA408408C}"/>
          </ac:grpSpMkLst>
        </pc:grpChg>
        <pc:picChg chg="del">
          <ac:chgData name="Liu, Ming" userId="b7dc4ee5-33d1-4788-a870-056b4dc25991" providerId="ADAL" clId="{D2656EA5-A294-45EF-891B-96701C83D426}" dt="2022-07-12T15:51:55.752" v="8" actId="478"/>
          <ac:picMkLst>
            <pc:docMk/>
            <pc:sldMk cId="3866271489" sldId="2132861786"/>
            <ac:picMk id="40" creationId="{3F314CA0-62C0-4FC8-A7A2-C29ADEADE9DE}"/>
          </ac:picMkLst>
        </pc:picChg>
        <pc:picChg chg="mod">
          <ac:chgData name="Liu, Ming" userId="b7dc4ee5-33d1-4788-a870-056b4dc25991" providerId="ADAL" clId="{D2656EA5-A294-45EF-891B-96701C83D426}" dt="2022-07-12T15:52:56.659" v="20" actId="1076"/>
          <ac:picMkLst>
            <pc:docMk/>
            <pc:sldMk cId="3866271489" sldId="2132861786"/>
            <ac:picMk id="42" creationId="{75E14236-7B83-42BA-ADCF-680B73560701}"/>
          </ac:picMkLst>
        </pc:picChg>
        <pc:picChg chg="mod">
          <ac:chgData name="Liu, Ming" userId="b7dc4ee5-33d1-4788-a870-056b4dc25991" providerId="ADAL" clId="{D2656EA5-A294-45EF-891B-96701C83D426}" dt="2022-07-12T15:52:41.989" v="18" actId="1076"/>
          <ac:picMkLst>
            <pc:docMk/>
            <pc:sldMk cId="3866271489" sldId="2132861786"/>
            <ac:picMk id="44" creationId="{122556A8-C292-42C6-B05F-D8D28B860E41}"/>
          </ac:picMkLst>
        </pc:picChg>
      </pc:sldChg>
      <pc:sldChg chg="modSp mod">
        <pc:chgData name="Liu, Ming" userId="b7dc4ee5-33d1-4788-a870-056b4dc25991" providerId="ADAL" clId="{D2656EA5-A294-45EF-891B-96701C83D426}" dt="2022-07-12T15:46:19.370" v="2" actId="20577"/>
        <pc:sldMkLst>
          <pc:docMk/>
          <pc:sldMk cId="378650186" sldId="2147469106"/>
        </pc:sldMkLst>
        <pc:spChg chg="mod">
          <ac:chgData name="Liu, Ming" userId="b7dc4ee5-33d1-4788-a870-056b4dc25991" providerId="ADAL" clId="{D2656EA5-A294-45EF-891B-96701C83D426}" dt="2022-07-12T15:46:19.370" v="2" actId="20577"/>
          <ac:spMkLst>
            <pc:docMk/>
            <pc:sldMk cId="378650186" sldId="2147469106"/>
            <ac:spMk id="32" creationId="{6B899A4A-BB6C-4495-88E0-1C43FEF541FE}"/>
          </ac:spMkLst>
        </pc:spChg>
      </pc:sldChg>
      <pc:sldChg chg="del">
        <pc:chgData name="Liu, Ming" userId="b7dc4ee5-33d1-4788-a870-056b4dc25991" providerId="ADAL" clId="{D2656EA5-A294-45EF-891B-96701C83D426}" dt="2022-07-12T15:46:06.537" v="0" actId="47"/>
        <pc:sldMkLst>
          <pc:docMk/>
          <pc:sldMk cId="195541985" sldId="2147469107"/>
        </pc:sldMkLst>
      </pc:sldChg>
      <pc:sldChg chg="modSp mod">
        <pc:chgData name="Liu, Ming" userId="b7dc4ee5-33d1-4788-a870-056b4dc25991" providerId="ADAL" clId="{D2656EA5-A294-45EF-891B-96701C83D426}" dt="2022-07-12T15:46:25.338" v="4" actId="20577"/>
        <pc:sldMkLst>
          <pc:docMk/>
          <pc:sldMk cId="1639535235" sldId="2147469118"/>
        </pc:sldMkLst>
        <pc:spChg chg="mod">
          <ac:chgData name="Liu, Ming" userId="b7dc4ee5-33d1-4788-a870-056b4dc25991" providerId="ADAL" clId="{D2656EA5-A294-45EF-891B-96701C83D426}" dt="2022-07-12T15:46:25.338" v="4" actId="20577"/>
          <ac:spMkLst>
            <pc:docMk/>
            <pc:sldMk cId="1639535235" sldId="2147469118"/>
            <ac:spMk id="40" creationId="{24D4A88B-D9C6-4A35-A0AE-16E7F8CA8685}"/>
          </ac:spMkLst>
        </pc:spChg>
      </pc:sldChg>
      <pc:sldChg chg="modSp mod">
        <pc:chgData name="Liu, Ming" userId="b7dc4ee5-33d1-4788-a870-056b4dc25991" providerId="ADAL" clId="{D2656EA5-A294-45EF-891B-96701C83D426}" dt="2022-07-12T15:46:35.871" v="7" actId="20577"/>
        <pc:sldMkLst>
          <pc:docMk/>
          <pc:sldMk cId="266915946" sldId="2147469119"/>
        </pc:sldMkLst>
        <pc:spChg chg="mod">
          <ac:chgData name="Liu, Ming" userId="b7dc4ee5-33d1-4788-a870-056b4dc25991" providerId="ADAL" clId="{D2656EA5-A294-45EF-891B-96701C83D426}" dt="2022-07-12T15:46:35.871" v="7" actId="20577"/>
          <ac:spMkLst>
            <pc:docMk/>
            <pc:sldMk cId="266915946" sldId="2147469119"/>
            <ac:spMk id="17" creationId="{60FF8B53-2954-4150-90FC-3A5CF7D1210F}"/>
          </ac:spMkLst>
        </pc:spChg>
      </pc:sldChg>
    </pc:docChg>
  </pc:docChgLst>
  <pc:docChgLst>
    <pc:chgData name="Liu, Ming" userId="b7dc4ee5-33d1-4788-a870-056b4dc25991" providerId="ADAL" clId="{24A6A09F-F355-4021-8A2E-569C1BA0240D}"/>
    <pc:docChg chg="undo custSel modSld">
      <pc:chgData name="Liu, Ming" userId="b7dc4ee5-33d1-4788-a870-056b4dc25991" providerId="ADAL" clId="{24A6A09F-F355-4021-8A2E-569C1BA0240D}" dt="2022-07-12T11:01:19.067" v="577" actId="20577"/>
      <pc:docMkLst>
        <pc:docMk/>
      </pc:docMkLst>
      <pc:sldChg chg="addSp delSp modSp mod">
        <pc:chgData name="Liu, Ming" userId="b7dc4ee5-33d1-4788-a870-056b4dc25991" providerId="ADAL" clId="{24A6A09F-F355-4021-8A2E-569C1BA0240D}" dt="2022-07-12T08:34:46.217" v="17" actId="478"/>
        <pc:sldMkLst>
          <pc:docMk/>
          <pc:sldMk cId="3599480056" sldId="2147469104"/>
        </pc:sldMkLst>
        <pc:spChg chg="add del mod">
          <ac:chgData name="Liu, Ming" userId="b7dc4ee5-33d1-4788-a870-056b4dc25991" providerId="ADAL" clId="{24A6A09F-F355-4021-8A2E-569C1BA0240D}" dt="2022-07-12T08:34:18.048" v="8" actId="22"/>
          <ac:spMkLst>
            <pc:docMk/>
            <pc:sldMk cId="3599480056" sldId="2147469104"/>
            <ac:spMk id="19" creationId="{88EF48EA-5E75-4DBD-96FE-85ADD8309D3A}"/>
          </ac:spMkLst>
        </pc:spChg>
        <pc:spChg chg="add del mod">
          <ac:chgData name="Liu, Ming" userId="b7dc4ee5-33d1-4788-a870-056b4dc25991" providerId="ADAL" clId="{24A6A09F-F355-4021-8A2E-569C1BA0240D}" dt="2022-07-12T08:34:46.217" v="17" actId="478"/>
          <ac:spMkLst>
            <pc:docMk/>
            <pc:sldMk cId="3599480056" sldId="2147469104"/>
            <ac:spMk id="23" creationId="{4789DDC1-B206-455C-955D-4DB3C0B412F9}"/>
          </ac:spMkLst>
        </pc:spChg>
        <pc:spChg chg="mod">
          <ac:chgData name="Liu, Ming" userId="b7dc4ee5-33d1-4788-a870-056b4dc25991" providerId="ADAL" clId="{24A6A09F-F355-4021-8A2E-569C1BA0240D}" dt="2022-07-12T08:34:06.203" v="0" actId="14100"/>
          <ac:spMkLst>
            <pc:docMk/>
            <pc:sldMk cId="3599480056" sldId="2147469104"/>
            <ac:spMk id="55" creationId="{8273B1A1-5516-4CA8-9AB8-8291370C4C10}"/>
          </ac:spMkLst>
        </pc:spChg>
      </pc:sldChg>
      <pc:sldChg chg="addSp delSp modSp mod">
        <pc:chgData name="Liu, Ming" userId="b7dc4ee5-33d1-4788-a870-056b4dc25991" providerId="ADAL" clId="{24A6A09F-F355-4021-8A2E-569C1BA0240D}" dt="2022-07-12T11:01:19.067" v="577" actId="20577"/>
        <pc:sldMkLst>
          <pc:docMk/>
          <pc:sldMk cId="378650186" sldId="2147469106"/>
        </pc:sldMkLst>
        <pc:spChg chg="del">
          <ac:chgData name="Liu, Ming" userId="b7dc4ee5-33d1-4788-a870-056b4dc25991" providerId="ADAL" clId="{24A6A09F-F355-4021-8A2E-569C1BA0240D}" dt="2022-07-12T08:37:22.267" v="115" actId="478"/>
          <ac:spMkLst>
            <pc:docMk/>
            <pc:sldMk cId="378650186" sldId="2147469106"/>
            <ac:spMk id="6" creationId="{E7C155B4-7AB9-4008-ADE8-F3CFC5EFFE0A}"/>
          </ac:spMkLst>
        </pc:spChg>
        <pc:spChg chg="add mod">
          <ac:chgData name="Liu, Ming" userId="b7dc4ee5-33d1-4788-a870-056b4dc25991" providerId="ADAL" clId="{24A6A09F-F355-4021-8A2E-569C1BA0240D}" dt="2022-07-12T08:37:30.837" v="148" actId="20577"/>
          <ac:spMkLst>
            <pc:docMk/>
            <pc:sldMk cId="378650186" sldId="2147469106"/>
            <ac:spMk id="33" creationId="{1CD159E3-D6EE-4D74-99FF-3712853FBDDD}"/>
          </ac:spMkLst>
        </pc:spChg>
        <pc:spChg chg="add del mod">
          <ac:chgData name="Liu, Ming" userId="b7dc4ee5-33d1-4788-a870-056b4dc25991" providerId="ADAL" clId="{24A6A09F-F355-4021-8A2E-569C1BA0240D}" dt="2022-07-12T10:38:12.088" v="289" actId="478"/>
          <ac:spMkLst>
            <pc:docMk/>
            <pc:sldMk cId="378650186" sldId="2147469106"/>
            <ac:spMk id="34" creationId="{8769011C-704C-441C-BECB-8576AC3B6538}"/>
          </ac:spMkLst>
        </pc:spChg>
        <pc:spChg chg="add del mod">
          <ac:chgData name="Liu, Ming" userId="b7dc4ee5-33d1-4788-a870-056b4dc25991" providerId="ADAL" clId="{24A6A09F-F355-4021-8A2E-569C1BA0240D}" dt="2022-07-12T10:35:54.409" v="260"/>
          <ac:spMkLst>
            <pc:docMk/>
            <pc:sldMk cId="378650186" sldId="2147469106"/>
            <ac:spMk id="35" creationId="{63B883E6-7528-45CC-9D28-4BEBB612479C}"/>
          </ac:spMkLst>
        </pc:spChg>
        <pc:spChg chg="add mod">
          <ac:chgData name="Liu, Ming" userId="b7dc4ee5-33d1-4788-a870-056b4dc25991" providerId="ADAL" clId="{24A6A09F-F355-4021-8A2E-569C1BA0240D}" dt="2022-07-12T11:01:19.067" v="577" actId="20577"/>
          <ac:spMkLst>
            <pc:docMk/>
            <pc:sldMk cId="378650186" sldId="2147469106"/>
            <ac:spMk id="36" creationId="{F7A03005-F00F-4965-B582-1EBE36D8E57E}"/>
          </ac:spMkLst>
        </pc:spChg>
        <pc:spChg chg="mod">
          <ac:chgData name="Liu, Ming" userId="b7dc4ee5-33d1-4788-a870-056b4dc25991" providerId="ADAL" clId="{24A6A09F-F355-4021-8A2E-569C1BA0240D}" dt="2022-07-12T10:36:57.784" v="272" actId="1076"/>
          <ac:spMkLst>
            <pc:docMk/>
            <pc:sldMk cId="378650186" sldId="2147469106"/>
            <ac:spMk id="43" creationId="{D64BC027-0762-40DD-8205-F73F873DA322}"/>
          </ac:spMkLst>
        </pc:spChg>
        <pc:spChg chg="mod">
          <ac:chgData name="Liu, Ming" userId="b7dc4ee5-33d1-4788-a870-056b4dc25991" providerId="ADAL" clId="{24A6A09F-F355-4021-8A2E-569C1BA0240D}" dt="2022-07-12T10:36:57.784" v="272" actId="1076"/>
          <ac:spMkLst>
            <pc:docMk/>
            <pc:sldMk cId="378650186" sldId="2147469106"/>
            <ac:spMk id="44" creationId="{71B01266-E229-4BC1-BBA4-BF1E751E48BE}"/>
          </ac:spMkLst>
        </pc:spChg>
        <pc:spChg chg="mod">
          <ac:chgData name="Liu, Ming" userId="b7dc4ee5-33d1-4788-a870-056b4dc25991" providerId="ADAL" clId="{24A6A09F-F355-4021-8A2E-569C1BA0240D}" dt="2022-07-12T10:36:57.784" v="272" actId="1076"/>
          <ac:spMkLst>
            <pc:docMk/>
            <pc:sldMk cId="378650186" sldId="2147469106"/>
            <ac:spMk id="57" creationId="{7F862EA6-6CC7-42DF-A3AE-CFFE6A0D5411}"/>
          </ac:spMkLst>
        </pc:spChg>
        <pc:spChg chg="mod">
          <ac:chgData name="Liu, Ming" userId="b7dc4ee5-33d1-4788-a870-056b4dc25991" providerId="ADAL" clId="{24A6A09F-F355-4021-8A2E-569C1BA0240D}" dt="2022-07-12T10:36:57.784" v="272" actId="1076"/>
          <ac:spMkLst>
            <pc:docMk/>
            <pc:sldMk cId="378650186" sldId="2147469106"/>
            <ac:spMk id="58" creationId="{641B5712-60E0-404D-8119-BA8322E5BDD5}"/>
          </ac:spMkLst>
        </pc:spChg>
        <pc:spChg chg="mod">
          <ac:chgData name="Liu, Ming" userId="b7dc4ee5-33d1-4788-a870-056b4dc25991" providerId="ADAL" clId="{24A6A09F-F355-4021-8A2E-569C1BA0240D}" dt="2022-07-12T10:36:57.784" v="272" actId="1076"/>
          <ac:spMkLst>
            <pc:docMk/>
            <pc:sldMk cId="378650186" sldId="2147469106"/>
            <ac:spMk id="59" creationId="{841CE17C-8839-4B73-8F8A-812F8A9E6FB5}"/>
          </ac:spMkLst>
        </pc:spChg>
        <pc:spChg chg="mod">
          <ac:chgData name="Liu, Ming" userId="b7dc4ee5-33d1-4788-a870-056b4dc25991" providerId="ADAL" clId="{24A6A09F-F355-4021-8A2E-569C1BA0240D}" dt="2022-07-12T10:36:57.784" v="272" actId="1076"/>
          <ac:spMkLst>
            <pc:docMk/>
            <pc:sldMk cId="378650186" sldId="2147469106"/>
            <ac:spMk id="60" creationId="{E919B955-FEB5-4416-9E82-4CF39564D878}"/>
          </ac:spMkLst>
        </pc:spChg>
        <pc:spChg chg="mod">
          <ac:chgData name="Liu, Ming" userId="b7dc4ee5-33d1-4788-a870-056b4dc25991" providerId="ADAL" clId="{24A6A09F-F355-4021-8A2E-569C1BA0240D}" dt="2022-07-12T10:36:57.784" v="272" actId="1076"/>
          <ac:spMkLst>
            <pc:docMk/>
            <pc:sldMk cId="378650186" sldId="2147469106"/>
            <ac:spMk id="61" creationId="{F70C75FB-A1A3-4303-970D-F43A42C7E372}"/>
          </ac:spMkLst>
        </pc:spChg>
        <pc:spChg chg="mod">
          <ac:chgData name="Liu, Ming" userId="b7dc4ee5-33d1-4788-a870-056b4dc25991" providerId="ADAL" clId="{24A6A09F-F355-4021-8A2E-569C1BA0240D}" dt="2022-07-12T10:36:57.784" v="272" actId="1076"/>
          <ac:spMkLst>
            <pc:docMk/>
            <pc:sldMk cId="378650186" sldId="2147469106"/>
            <ac:spMk id="62" creationId="{4CADE7B5-A8AC-4496-AA3A-E97123B10B71}"/>
          </ac:spMkLst>
        </pc:spChg>
        <pc:spChg chg="mod">
          <ac:chgData name="Liu, Ming" userId="b7dc4ee5-33d1-4788-a870-056b4dc25991" providerId="ADAL" clId="{24A6A09F-F355-4021-8A2E-569C1BA0240D}" dt="2022-07-12T10:36:57.784" v="272" actId="1076"/>
          <ac:spMkLst>
            <pc:docMk/>
            <pc:sldMk cId="378650186" sldId="2147469106"/>
            <ac:spMk id="63" creationId="{CFA33144-9131-4DCA-A3E3-D63F83AE4479}"/>
          </ac:spMkLst>
        </pc:spChg>
        <pc:spChg chg="mod">
          <ac:chgData name="Liu, Ming" userId="b7dc4ee5-33d1-4788-a870-056b4dc25991" providerId="ADAL" clId="{24A6A09F-F355-4021-8A2E-569C1BA0240D}" dt="2022-07-12T10:36:57.784" v="272" actId="1076"/>
          <ac:spMkLst>
            <pc:docMk/>
            <pc:sldMk cId="378650186" sldId="2147469106"/>
            <ac:spMk id="64" creationId="{EB228861-9C21-4F68-8539-10A400822A0C}"/>
          </ac:spMkLst>
        </pc:spChg>
        <pc:spChg chg="mod">
          <ac:chgData name="Liu, Ming" userId="b7dc4ee5-33d1-4788-a870-056b4dc25991" providerId="ADAL" clId="{24A6A09F-F355-4021-8A2E-569C1BA0240D}" dt="2022-07-12T10:36:57.784" v="272" actId="1076"/>
          <ac:spMkLst>
            <pc:docMk/>
            <pc:sldMk cId="378650186" sldId="2147469106"/>
            <ac:spMk id="65" creationId="{DBA2D278-41E7-413C-B850-51E479B40287}"/>
          </ac:spMkLst>
        </pc:spChg>
        <pc:spChg chg="mod">
          <ac:chgData name="Liu, Ming" userId="b7dc4ee5-33d1-4788-a870-056b4dc25991" providerId="ADAL" clId="{24A6A09F-F355-4021-8A2E-569C1BA0240D}" dt="2022-07-12T10:36:57.784" v="272" actId="1076"/>
          <ac:spMkLst>
            <pc:docMk/>
            <pc:sldMk cId="378650186" sldId="2147469106"/>
            <ac:spMk id="66" creationId="{B020CD35-8AE1-48AC-8481-0A19FFD8945F}"/>
          </ac:spMkLst>
        </pc:spChg>
        <pc:spChg chg="mod">
          <ac:chgData name="Liu, Ming" userId="b7dc4ee5-33d1-4788-a870-056b4dc25991" providerId="ADAL" clId="{24A6A09F-F355-4021-8A2E-569C1BA0240D}" dt="2022-07-12T10:36:57.784" v="272" actId="1076"/>
          <ac:spMkLst>
            <pc:docMk/>
            <pc:sldMk cId="378650186" sldId="2147469106"/>
            <ac:spMk id="67" creationId="{C9F2E7B3-722F-456D-ADBE-90BB6CDFDBF2}"/>
          </ac:spMkLst>
        </pc:spChg>
        <pc:spChg chg="mod">
          <ac:chgData name="Liu, Ming" userId="b7dc4ee5-33d1-4788-a870-056b4dc25991" providerId="ADAL" clId="{24A6A09F-F355-4021-8A2E-569C1BA0240D}" dt="2022-07-12T10:36:57.784" v="272" actId="1076"/>
          <ac:spMkLst>
            <pc:docMk/>
            <pc:sldMk cId="378650186" sldId="2147469106"/>
            <ac:spMk id="83" creationId="{711599D1-911B-4176-AE21-28CD55429C1B}"/>
          </ac:spMkLst>
        </pc:spChg>
        <pc:spChg chg="mod">
          <ac:chgData name="Liu, Ming" userId="b7dc4ee5-33d1-4788-a870-056b4dc25991" providerId="ADAL" clId="{24A6A09F-F355-4021-8A2E-569C1BA0240D}" dt="2022-07-12T10:36:57.784" v="272" actId="1076"/>
          <ac:spMkLst>
            <pc:docMk/>
            <pc:sldMk cId="378650186" sldId="2147469106"/>
            <ac:spMk id="84" creationId="{FF06E399-5223-4982-891C-BA68E1BC91C4}"/>
          </ac:spMkLst>
        </pc:spChg>
        <pc:spChg chg="mod">
          <ac:chgData name="Liu, Ming" userId="b7dc4ee5-33d1-4788-a870-056b4dc25991" providerId="ADAL" clId="{24A6A09F-F355-4021-8A2E-569C1BA0240D}" dt="2022-07-12T10:36:57.784" v="272" actId="1076"/>
          <ac:spMkLst>
            <pc:docMk/>
            <pc:sldMk cId="378650186" sldId="2147469106"/>
            <ac:spMk id="90" creationId="{938BA836-E4A0-4CBA-B67F-79C622D696D7}"/>
          </ac:spMkLst>
        </pc:spChg>
        <pc:spChg chg="mod">
          <ac:chgData name="Liu, Ming" userId="b7dc4ee5-33d1-4788-a870-056b4dc25991" providerId="ADAL" clId="{24A6A09F-F355-4021-8A2E-569C1BA0240D}" dt="2022-07-12T10:36:57.784" v="272" actId="1076"/>
          <ac:spMkLst>
            <pc:docMk/>
            <pc:sldMk cId="378650186" sldId="2147469106"/>
            <ac:spMk id="91" creationId="{F55C46B3-D998-477A-846E-27B6F48CDEC0}"/>
          </ac:spMkLst>
        </pc:spChg>
        <pc:grpChg chg="mod">
          <ac:chgData name="Liu, Ming" userId="b7dc4ee5-33d1-4788-a870-056b4dc25991" providerId="ADAL" clId="{24A6A09F-F355-4021-8A2E-569C1BA0240D}" dt="2022-07-12T10:36:57.784" v="272" actId="1076"/>
          <ac:grpSpMkLst>
            <pc:docMk/>
            <pc:sldMk cId="378650186" sldId="2147469106"/>
            <ac:grpSpMk id="68" creationId="{5D3C6AA9-6EA6-499E-AEB3-FA96EF2113BF}"/>
          </ac:grpSpMkLst>
        </pc:grpChg>
      </pc:sldChg>
      <pc:sldChg chg="addSp delSp modSp mod">
        <pc:chgData name="Liu, Ming" userId="b7dc4ee5-33d1-4788-a870-056b4dc25991" providerId="ADAL" clId="{24A6A09F-F355-4021-8A2E-569C1BA0240D}" dt="2022-07-12T11:00:16.297" v="573" actId="1076"/>
        <pc:sldMkLst>
          <pc:docMk/>
          <pc:sldMk cId="195541985" sldId="2147469107"/>
        </pc:sldMkLst>
        <pc:spChg chg="del">
          <ac:chgData name="Liu, Ming" userId="b7dc4ee5-33d1-4788-a870-056b4dc25991" providerId="ADAL" clId="{24A6A09F-F355-4021-8A2E-569C1BA0240D}" dt="2022-07-12T08:37:07.880" v="96" actId="478"/>
          <ac:spMkLst>
            <pc:docMk/>
            <pc:sldMk cId="195541985" sldId="2147469107"/>
            <ac:spMk id="2" creationId="{6FA4B1DF-6D15-4187-979D-A43FD9645787}"/>
          </ac:spMkLst>
        </pc:spChg>
        <pc:spChg chg="mod">
          <ac:chgData name="Liu, Ming" userId="b7dc4ee5-33d1-4788-a870-056b4dc25991" providerId="ADAL" clId="{24A6A09F-F355-4021-8A2E-569C1BA0240D}" dt="2022-07-12T10:59:40.047" v="572" actId="14100"/>
          <ac:spMkLst>
            <pc:docMk/>
            <pc:sldMk cId="195541985" sldId="2147469107"/>
            <ac:spMk id="14" creationId="{4DA066DB-EFE1-4597-B16D-9560B8623507}"/>
          </ac:spMkLst>
        </pc:spChg>
        <pc:spChg chg="add mod">
          <ac:chgData name="Liu, Ming" userId="b7dc4ee5-33d1-4788-a870-056b4dc25991" providerId="ADAL" clId="{24A6A09F-F355-4021-8A2E-569C1BA0240D}" dt="2022-07-12T08:37:13.551" v="114" actId="20577"/>
          <ac:spMkLst>
            <pc:docMk/>
            <pc:sldMk cId="195541985" sldId="2147469107"/>
            <ac:spMk id="28" creationId="{1D656E91-CB18-478B-8795-C09C36A8C43E}"/>
          </ac:spMkLst>
        </pc:spChg>
        <pc:spChg chg="mod">
          <ac:chgData name="Liu, Ming" userId="b7dc4ee5-33d1-4788-a870-056b4dc25991" providerId="ADAL" clId="{24A6A09F-F355-4021-8A2E-569C1BA0240D}" dt="2022-07-12T11:00:16.297" v="573" actId="1076"/>
          <ac:spMkLst>
            <pc:docMk/>
            <pc:sldMk cId="195541985" sldId="2147469107"/>
            <ac:spMk id="32" creationId="{592DB376-97B1-47B5-A8D5-C06DA14C3A63}"/>
          </ac:spMkLst>
        </pc:spChg>
        <pc:graphicFrameChg chg="modGraphic">
          <ac:chgData name="Liu, Ming" userId="b7dc4ee5-33d1-4788-a870-056b4dc25991" providerId="ADAL" clId="{24A6A09F-F355-4021-8A2E-569C1BA0240D}" dt="2022-07-12T09:44:26.131" v="224" actId="20577"/>
          <ac:graphicFrameMkLst>
            <pc:docMk/>
            <pc:sldMk cId="195541985" sldId="2147469107"/>
            <ac:graphicFrameMk id="5" creationId="{EEA76437-EDD5-4596-A07A-763B5E588F2A}"/>
          </ac:graphicFrameMkLst>
        </pc:graphicFrameChg>
      </pc:sldChg>
      <pc:sldChg chg="addSp delSp modSp mod">
        <pc:chgData name="Liu, Ming" userId="b7dc4ee5-33d1-4788-a870-056b4dc25991" providerId="ADAL" clId="{24A6A09F-F355-4021-8A2E-569C1BA0240D}" dt="2022-07-12T11:00:56.768" v="576" actId="14100"/>
        <pc:sldMkLst>
          <pc:docMk/>
          <pc:sldMk cId="1639535235" sldId="2147469118"/>
        </pc:sldMkLst>
        <pc:spChg chg="del">
          <ac:chgData name="Liu, Ming" userId="b7dc4ee5-33d1-4788-a870-056b4dc25991" providerId="ADAL" clId="{24A6A09F-F355-4021-8A2E-569C1BA0240D}" dt="2022-07-12T08:37:36.373" v="149" actId="478"/>
          <ac:spMkLst>
            <pc:docMk/>
            <pc:sldMk cId="1639535235" sldId="2147469118"/>
            <ac:spMk id="6" creationId="{E7C155B4-7AB9-4008-ADE8-F3CFC5EFFE0A}"/>
          </ac:spMkLst>
        </pc:spChg>
        <pc:spChg chg="add mod">
          <ac:chgData name="Liu, Ming" userId="b7dc4ee5-33d1-4788-a870-056b4dc25991" providerId="ADAL" clId="{24A6A09F-F355-4021-8A2E-569C1BA0240D}" dt="2022-07-12T08:37:42.590" v="170" actId="20577"/>
          <ac:spMkLst>
            <pc:docMk/>
            <pc:sldMk cId="1639535235" sldId="2147469118"/>
            <ac:spMk id="42" creationId="{9B7EDD3E-519B-4E6B-9B09-C5CD42529B78}"/>
          </ac:spMkLst>
        </pc:spChg>
        <pc:spChg chg="mod">
          <ac:chgData name="Liu, Ming" userId="b7dc4ee5-33d1-4788-a870-056b4dc25991" providerId="ADAL" clId="{24A6A09F-F355-4021-8A2E-569C1BA0240D}" dt="2022-07-12T11:00:56.768" v="576" actId="14100"/>
          <ac:spMkLst>
            <pc:docMk/>
            <pc:sldMk cId="1639535235" sldId="2147469118"/>
            <ac:spMk id="90" creationId="{938BA836-E4A0-4CBA-B67F-79C622D696D7}"/>
          </ac:spMkLst>
        </pc:spChg>
      </pc:sldChg>
      <pc:sldChg chg="addSp delSp modSp mod">
        <pc:chgData name="Liu, Ming" userId="b7dc4ee5-33d1-4788-a870-056b4dc25991" providerId="ADAL" clId="{24A6A09F-F355-4021-8A2E-569C1BA0240D}" dt="2022-07-12T09:58:37.157" v="227" actId="20577"/>
        <pc:sldMkLst>
          <pc:docMk/>
          <pc:sldMk cId="266915946" sldId="2147469119"/>
        </pc:sldMkLst>
        <pc:spChg chg="del">
          <ac:chgData name="Liu, Ming" userId="b7dc4ee5-33d1-4788-a870-056b4dc25991" providerId="ADAL" clId="{24A6A09F-F355-4021-8A2E-569C1BA0240D}" dt="2022-07-12T08:37:49.692" v="171" actId="478"/>
          <ac:spMkLst>
            <pc:docMk/>
            <pc:sldMk cId="266915946" sldId="2147469119"/>
            <ac:spMk id="15" creationId="{90B946AB-125F-4DE1-A0D6-AC64013F5D2F}"/>
          </ac:spMkLst>
        </pc:spChg>
        <pc:spChg chg="mod">
          <ac:chgData name="Liu, Ming" userId="b7dc4ee5-33d1-4788-a870-056b4dc25991" providerId="ADAL" clId="{24A6A09F-F355-4021-8A2E-569C1BA0240D}" dt="2022-07-12T09:58:37.157" v="227" actId="20577"/>
          <ac:spMkLst>
            <pc:docMk/>
            <pc:sldMk cId="266915946" sldId="2147469119"/>
            <ac:spMk id="18" creationId="{E9F545D4-CC11-4B0E-BFFC-938BD9A0B5DB}"/>
          </ac:spMkLst>
        </pc:spChg>
        <pc:spChg chg="add mod">
          <ac:chgData name="Liu, Ming" userId="b7dc4ee5-33d1-4788-a870-056b4dc25991" providerId="ADAL" clId="{24A6A09F-F355-4021-8A2E-569C1BA0240D}" dt="2022-07-12T08:37:55.538" v="191" actId="20577"/>
          <ac:spMkLst>
            <pc:docMk/>
            <pc:sldMk cId="266915946" sldId="2147469119"/>
            <ac:spMk id="19" creationId="{B2AC5BD1-2905-4F28-8BFE-4D4C4E5BE264}"/>
          </ac:spMkLst>
        </pc:spChg>
      </pc:sldChg>
      <pc:sldChg chg="addSp delSp modSp mod">
        <pc:chgData name="Liu, Ming" userId="b7dc4ee5-33d1-4788-a870-056b4dc25991" providerId="ADAL" clId="{24A6A09F-F355-4021-8A2E-569C1BA0240D}" dt="2022-07-12T08:39:39.714" v="206" actId="14100"/>
        <pc:sldMkLst>
          <pc:docMk/>
          <pc:sldMk cId="1723409729" sldId="2147469122"/>
        </pc:sldMkLst>
        <pc:spChg chg="del">
          <ac:chgData name="Liu, Ming" userId="b7dc4ee5-33d1-4788-a870-056b4dc25991" providerId="ADAL" clId="{24A6A09F-F355-4021-8A2E-569C1BA0240D}" dt="2022-07-12T08:36:20.242" v="37" actId="478"/>
          <ac:spMkLst>
            <pc:docMk/>
            <pc:sldMk cId="1723409729" sldId="2147469122"/>
            <ac:spMk id="3" creationId="{733FDD07-27E6-492C-9319-4C453AC438E3}"/>
          </ac:spMkLst>
        </pc:spChg>
        <pc:spChg chg="add mod">
          <ac:chgData name="Liu, Ming" userId="b7dc4ee5-33d1-4788-a870-056b4dc25991" providerId="ADAL" clId="{24A6A09F-F355-4021-8A2E-569C1BA0240D}" dt="2022-07-12T08:36:25.687" v="55" actId="20577"/>
          <ac:spMkLst>
            <pc:docMk/>
            <pc:sldMk cId="1723409729" sldId="2147469122"/>
            <ac:spMk id="18" creationId="{DFC05405-2CF8-4A15-8585-E6B5A8BC8667}"/>
          </ac:spMkLst>
        </pc:spChg>
        <pc:spChg chg="add mod">
          <ac:chgData name="Liu, Ming" userId="b7dc4ee5-33d1-4788-a870-056b4dc25991" providerId="ADAL" clId="{24A6A09F-F355-4021-8A2E-569C1BA0240D}" dt="2022-07-12T08:39:39.714" v="206" actId="14100"/>
          <ac:spMkLst>
            <pc:docMk/>
            <pc:sldMk cId="1723409729" sldId="2147469122"/>
            <ac:spMk id="19" creationId="{347F5731-3F3F-4705-A98E-3DA46BADA225}"/>
          </ac:spMkLst>
        </pc:spChg>
      </pc:sldChg>
      <pc:sldChg chg="addSp delSp modSp mod">
        <pc:chgData name="Liu, Ming" userId="b7dc4ee5-33d1-4788-a870-056b4dc25991" providerId="ADAL" clId="{24A6A09F-F355-4021-8A2E-569C1BA0240D}" dt="2022-07-12T08:36:51.002" v="95" actId="20577"/>
        <pc:sldMkLst>
          <pc:docMk/>
          <pc:sldMk cId="183527708" sldId="2147469123"/>
        </pc:sldMkLst>
        <pc:spChg chg="del">
          <ac:chgData name="Liu, Ming" userId="b7dc4ee5-33d1-4788-a870-056b4dc25991" providerId="ADAL" clId="{24A6A09F-F355-4021-8A2E-569C1BA0240D}" dt="2022-07-12T08:36:44.393" v="76" actId="478"/>
          <ac:spMkLst>
            <pc:docMk/>
            <pc:sldMk cId="183527708" sldId="2147469123"/>
            <ac:spMk id="3" creationId="{4484B26F-4E19-4251-8FE9-DD39D9C4BD59}"/>
          </ac:spMkLst>
        </pc:spChg>
        <pc:spChg chg="add mod">
          <ac:chgData name="Liu, Ming" userId="b7dc4ee5-33d1-4788-a870-056b4dc25991" providerId="ADAL" clId="{24A6A09F-F355-4021-8A2E-569C1BA0240D}" dt="2022-07-12T08:36:51.002" v="95" actId="20577"/>
          <ac:spMkLst>
            <pc:docMk/>
            <pc:sldMk cId="183527708" sldId="2147469123"/>
            <ac:spMk id="22" creationId="{37EB6D85-AA4B-43C1-8CBC-DC72183EF935}"/>
          </ac:spMkLst>
        </pc:spChg>
      </pc:sldChg>
      <pc:sldChg chg="addSp delSp modSp mod">
        <pc:chgData name="Liu, Ming" userId="b7dc4ee5-33d1-4788-a870-056b4dc25991" providerId="ADAL" clId="{24A6A09F-F355-4021-8A2E-569C1BA0240D}" dt="2022-07-12T08:36:35.642" v="75" actId="20577"/>
        <pc:sldMkLst>
          <pc:docMk/>
          <pc:sldMk cId="2434492675" sldId="2147469124"/>
        </pc:sldMkLst>
        <pc:spChg chg="del">
          <ac:chgData name="Liu, Ming" userId="b7dc4ee5-33d1-4788-a870-056b4dc25991" providerId="ADAL" clId="{24A6A09F-F355-4021-8A2E-569C1BA0240D}" dt="2022-07-12T08:36:30.167" v="56" actId="478"/>
          <ac:spMkLst>
            <pc:docMk/>
            <pc:sldMk cId="2434492675" sldId="2147469124"/>
            <ac:spMk id="3" creationId="{BE19F926-9B8E-4D8C-849A-601600D5541D}"/>
          </ac:spMkLst>
        </pc:spChg>
        <pc:spChg chg="add mod">
          <ac:chgData name="Liu, Ming" userId="b7dc4ee5-33d1-4788-a870-056b4dc25991" providerId="ADAL" clId="{24A6A09F-F355-4021-8A2E-569C1BA0240D}" dt="2022-07-12T08:36:35.642" v="75" actId="20577"/>
          <ac:spMkLst>
            <pc:docMk/>
            <pc:sldMk cId="2434492675" sldId="2147469124"/>
            <ac:spMk id="28" creationId="{7E794B03-D127-423D-A00D-4DE9E3023C23}"/>
          </ac:spMkLst>
        </pc:spChg>
      </pc:sldChg>
      <pc:sldChg chg="addSp delSp modSp mod">
        <pc:chgData name="Liu, Ming" userId="b7dc4ee5-33d1-4788-a870-056b4dc25991" providerId="ADAL" clId="{24A6A09F-F355-4021-8A2E-569C1BA0240D}" dt="2022-07-12T08:36:12.165" v="36" actId="20577"/>
        <pc:sldMkLst>
          <pc:docMk/>
          <pc:sldMk cId="786371180" sldId="2147469125"/>
        </pc:sldMkLst>
        <pc:spChg chg="del">
          <ac:chgData name="Liu, Ming" userId="b7dc4ee5-33d1-4788-a870-056b4dc25991" providerId="ADAL" clId="{24A6A09F-F355-4021-8A2E-569C1BA0240D}" dt="2022-07-12T08:36:06.330" v="18" actId="478"/>
          <ac:spMkLst>
            <pc:docMk/>
            <pc:sldMk cId="786371180" sldId="2147469125"/>
            <ac:spMk id="12" creationId="{354BFB40-3FD1-4244-B7F6-D31917086F40}"/>
          </ac:spMkLst>
        </pc:spChg>
        <pc:spChg chg="add mod">
          <ac:chgData name="Liu, Ming" userId="b7dc4ee5-33d1-4788-a870-056b4dc25991" providerId="ADAL" clId="{24A6A09F-F355-4021-8A2E-569C1BA0240D}" dt="2022-07-12T08:36:12.165" v="36" actId="20577"/>
          <ac:spMkLst>
            <pc:docMk/>
            <pc:sldMk cId="786371180" sldId="2147469125"/>
            <ac:spMk id="29" creationId="{00031BA7-D0CE-4567-8910-6234FB819CF1}"/>
          </ac:spMkLst>
        </pc:spChg>
      </pc:sldChg>
    </pc:docChg>
  </pc:docChgLst>
  <pc:docChgLst>
    <pc:chgData name="Liu, Ming" userId="b7dc4ee5-33d1-4788-a870-056b4dc25991" providerId="ADAL" clId="{54FC117A-C4C0-451D-8F48-1A66860B9226}"/>
    <pc:docChg chg="undo redo custSel modSld">
      <pc:chgData name="Liu, Ming" userId="b7dc4ee5-33d1-4788-a870-056b4dc25991" providerId="ADAL" clId="{54FC117A-C4C0-451D-8F48-1A66860B9226}" dt="2022-07-12T08:31:14.288" v="1525" actId="20577"/>
      <pc:docMkLst>
        <pc:docMk/>
      </pc:docMkLst>
      <pc:sldChg chg="modSp mod">
        <pc:chgData name="Liu, Ming" userId="b7dc4ee5-33d1-4788-a870-056b4dc25991" providerId="ADAL" clId="{54FC117A-C4C0-451D-8F48-1A66860B9226}" dt="2022-07-12T06:14:24.831" v="72" actId="108"/>
        <pc:sldMkLst>
          <pc:docMk/>
          <pc:sldMk cId="3599480056" sldId="2147469104"/>
        </pc:sldMkLst>
        <pc:spChg chg="mod">
          <ac:chgData name="Liu, Ming" userId="b7dc4ee5-33d1-4788-a870-056b4dc25991" providerId="ADAL" clId="{54FC117A-C4C0-451D-8F48-1A66860B9226}" dt="2022-07-12T06:14:24.831" v="72" actId="108"/>
          <ac:spMkLst>
            <pc:docMk/>
            <pc:sldMk cId="3599480056" sldId="2147469104"/>
            <ac:spMk id="39" creationId="{E66F5463-092C-4023-8AE9-AA4F079408A9}"/>
          </ac:spMkLst>
        </pc:spChg>
      </pc:sldChg>
      <pc:sldChg chg="addSp delSp modSp mod">
        <pc:chgData name="Liu, Ming" userId="b7dc4ee5-33d1-4788-a870-056b4dc25991" providerId="ADAL" clId="{54FC117A-C4C0-451D-8F48-1A66860B9226}" dt="2022-07-12T08:31:14.288" v="1525" actId="20577"/>
        <pc:sldMkLst>
          <pc:docMk/>
          <pc:sldMk cId="195541985" sldId="2147469107"/>
        </pc:sldMkLst>
        <pc:spChg chg="mod">
          <ac:chgData name="Liu, Ming" userId="b7dc4ee5-33d1-4788-a870-056b4dc25991" providerId="ADAL" clId="{54FC117A-C4C0-451D-8F48-1A66860B9226}" dt="2022-07-12T08:27:37.167" v="1459" actId="1037"/>
          <ac:spMkLst>
            <pc:docMk/>
            <pc:sldMk cId="195541985" sldId="2147469107"/>
            <ac:spMk id="3" creationId="{C7403E05-5D4C-49CB-AA35-4A7BA588A7E5}"/>
          </ac:spMkLst>
        </pc:spChg>
        <pc:spChg chg="mod">
          <ac:chgData name="Liu, Ming" userId="b7dc4ee5-33d1-4788-a870-056b4dc25991" providerId="ADAL" clId="{54FC117A-C4C0-451D-8F48-1A66860B9226}" dt="2022-07-12T08:27:37.167" v="1459" actId="1037"/>
          <ac:spMkLst>
            <pc:docMk/>
            <pc:sldMk cId="195541985" sldId="2147469107"/>
            <ac:spMk id="14" creationId="{4DA066DB-EFE1-4597-B16D-9560B8623507}"/>
          </ac:spMkLst>
        </pc:spChg>
        <pc:spChg chg="mod">
          <ac:chgData name="Liu, Ming" userId="b7dc4ee5-33d1-4788-a870-056b4dc25991" providerId="ADAL" clId="{54FC117A-C4C0-451D-8F48-1A66860B9226}" dt="2022-07-12T08:27:37.167" v="1459" actId="1037"/>
          <ac:spMkLst>
            <pc:docMk/>
            <pc:sldMk cId="195541985" sldId="2147469107"/>
            <ac:spMk id="18" creationId="{95738FBA-45F9-47CF-B0FA-C3543BD8DCF2}"/>
          </ac:spMkLst>
        </pc:spChg>
        <pc:spChg chg="mod">
          <ac:chgData name="Liu, Ming" userId="b7dc4ee5-33d1-4788-a870-056b4dc25991" providerId="ADAL" clId="{54FC117A-C4C0-451D-8F48-1A66860B9226}" dt="2022-07-12T08:27:37.167" v="1459" actId="1037"/>
          <ac:spMkLst>
            <pc:docMk/>
            <pc:sldMk cId="195541985" sldId="2147469107"/>
            <ac:spMk id="19" creationId="{53462D34-C751-4C7F-816D-DCEC2C341623}"/>
          </ac:spMkLst>
        </pc:spChg>
        <pc:spChg chg="mod">
          <ac:chgData name="Liu, Ming" userId="b7dc4ee5-33d1-4788-a870-056b4dc25991" providerId="ADAL" clId="{54FC117A-C4C0-451D-8F48-1A66860B9226}" dt="2022-07-12T08:27:37.167" v="1459" actId="1037"/>
          <ac:spMkLst>
            <pc:docMk/>
            <pc:sldMk cId="195541985" sldId="2147469107"/>
            <ac:spMk id="20" creationId="{B85F09DE-7835-4758-A864-2833C0A26E9B}"/>
          </ac:spMkLst>
        </pc:spChg>
        <pc:spChg chg="mod">
          <ac:chgData name="Liu, Ming" userId="b7dc4ee5-33d1-4788-a870-056b4dc25991" providerId="ADAL" clId="{54FC117A-C4C0-451D-8F48-1A66860B9226}" dt="2022-07-12T08:27:37.167" v="1459" actId="1037"/>
          <ac:spMkLst>
            <pc:docMk/>
            <pc:sldMk cId="195541985" sldId="2147469107"/>
            <ac:spMk id="21" creationId="{D45AF33F-5F88-462C-8269-6BDA0852812B}"/>
          </ac:spMkLst>
        </pc:spChg>
        <pc:spChg chg="mod">
          <ac:chgData name="Liu, Ming" userId="b7dc4ee5-33d1-4788-a870-056b4dc25991" providerId="ADAL" clId="{54FC117A-C4C0-451D-8F48-1A66860B9226}" dt="2022-07-12T08:31:14.288" v="1525" actId="20577"/>
          <ac:spMkLst>
            <pc:docMk/>
            <pc:sldMk cId="195541985" sldId="2147469107"/>
            <ac:spMk id="22" creationId="{5FD02D0D-263F-47CA-B44B-60D6054FEA5F}"/>
          </ac:spMkLst>
        </pc:spChg>
        <pc:spChg chg="add mod">
          <ac:chgData name="Liu, Ming" userId="b7dc4ee5-33d1-4788-a870-056b4dc25991" providerId="ADAL" clId="{54FC117A-C4C0-451D-8F48-1A66860B9226}" dt="2022-07-12T08:30:03.869" v="1509" actId="1035"/>
          <ac:spMkLst>
            <pc:docMk/>
            <pc:sldMk cId="195541985" sldId="2147469107"/>
            <ac:spMk id="31" creationId="{3BD110A4-7162-4B13-B5FA-CCE65D83CAD3}"/>
          </ac:spMkLst>
        </pc:spChg>
        <pc:spChg chg="mod">
          <ac:chgData name="Liu, Ming" userId="b7dc4ee5-33d1-4788-a870-056b4dc25991" providerId="ADAL" clId="{54FC117A-C4C0-451D-8F48-1A66860B9226}" dt="2022-07-12T08:30:34.870" v="1514" actId="20577"/>
          <ac:spMkLst>
            <pc:docMk/>
            <pc:sldMk cId="195541985" sldId="2147469107"/>
            <ac:spMk id="32" creationId="{592DB376-97B1-47B5-A8D5-C06DA14C3A63}"/>
          </ac:spMkLst>
        </pc:spChg>
        <pc:spChg chg="mod">
          <ac:chgData name="Liu, Ming" userId="b7dc4ee5-33d1-4788-a870-056b4dc25991" providerId="ADAL" clId="{54FC117A-C4C0-451D-8F48-1A66860B9226}" dt="2022-07-12T08:27:37.167" v="1459" actId="1037"/>
          <ac:spMkLst>
            <pc:docMk/>
            <pc:sldMk cId="195541985" sldId="2147469107"/>
            <ac:spMk id="59" creationId="{37BAF771-73D1-42DF-9599-839589BD624A}"/>
          </ac:spMkLst>
        </pc:spChg>
        <pc:spChg chg="mod">
          <ac:chgData name="Liu, Ming" userId="b7dc4ee5-33d1-4788-a870-056b4dc25991" providerId="ADAL" clId="{54FC117A-C4C0-451D-8F48-1A66860B9226}" dt="2022-07-12T08:27:37.167" v="1459" actId="1037"/>
          <ac:spMkLst>
            <pc:docMk/>
            <pc:sldMk cId="195541985" sldId="2147469107"/>
            <ac:spMk id="60" creationId="{566D0F0F-C939-45DD-9A46-4F2F23254EDC}"/>
          </ac:spMkLst>
        </pc:spChg>
        <pc:spChg chg="mod">
          <ac:chgData name="Liu, Ming" userId="b7dc4ee5-33d1-4788-a870-056b4dc25991" providerId="ADAL" clId="{54FC117A-C4C0-451D-8F48-1A66860B9226}" dt="2022-07-12T08:27:37.167" v="1459" actId="1037"/>
          <ac:spMkLst>
            <pc:docMk/>
            <pc:sldMk cId="195541985" sldId="2147469107"/>
            <ac:spMk id="62" creationId="{0D3B66B1-77C0-401D-B615-8CF4E951ED81}"/>
          </ac:spMkLst>
        </pc:spChg>
        <pc:spChg chg="mod">
          <ac:chgData name="Liu, Ming" userId="b7dc4ee5-33d1-4788-a870-056b4dc25991" providerId="ADAL" clId="{54FC117A-C4C0-451D-8F48-1A66860B9226}" dt="2022-07-12T08:27:37.167" v="1459" actId="1037"/>
          <ac:spMkLst>
            <pc:docMk/>
            <pc:sldMk cId="195541985" sldId="2147469107"/>
            <ac:spMk id="63" creationId="{1DA152BD-FC92-424D-B55B-554E459E1A78}"/>
          </ac:spMkLst>
        </pc:spChg>
        <pc:spChg chg="mod">
          <ac:chgData name="Liu, Ming" userId="b7dc4ee5-33d1-4788-a870-056b4dc25991" providerId="ADAL" clId="{54FC117A-C4C0-451D-8F48-1A66860B9226}" dt="2022-07-12T08:27:37.167" v="1459" actId="1037"/>
          <ac:spMkLst>
            <pc:docMk/>
            <pc:sldMk cId="195541985" sldId="2147469107"/>
            <ac:spMk id="64" creationId="{DAE56BFE-A991-4DA8-9041-0C766E44C0B8}"/>
          </ac:spMkLst>
        </pc:spChg>
        <pc:spChg chg="mod">
          <ac:chgData name="Liu, Ming" userId="b7dc4ee5-33d1-4788-a870-056b4dc25991" providerId="ADAL" clId="{54FC117A-C4C0-451D-8F48-1A66860B9226}" dt="2022-07-12T08:27:37.167" v="1459" actId="1037"/>
          <ac:spMkLst>
            <pc:docMk/>
            <pc:sldMk cId="195541985" sldId="2147469107"/>
            <ac:spMk id="65" creationId="{7CFC3D5D-51E4-48AF-82C0-DE9DCFE17098}"/>
          </ac:spMkLst>
        </pc:spChg>
        <pc:grpChg chg="add mod ord">
          <ac:chgData name="Liu, Ming" userId="b7dc4ee5-33d1-4788-a870-056b4dc25991" providerId="ADAL" clId="{54FC117A-C4C0-451D-8F48-1A66860B9226}" dt="2022-07-12T08:30:03.869" v="1509" actId="1035"/>
          <ac:grpSpMkLst>
            <pc:docMk/>
            <pc:sldMk cId="195541985" sldId="2147469107"/>
            <ac:grpSpMk id="10" creationId="{AD6AA05E-5D39-4FBF-A9BE-97614623A90C}"/>
          </ac:grpSpMkLst>
        </pc:grpChg>
        <pc:grpChg chg="mod">
          <ac:chgData name="Liu, Ming" userId="b7dc4ee5-33d1-4788-a870-056b4dc25991" providerId="ADAL" clId="{54FC117A-C4C0-451D-8F48-1A66860B9226}" dt="2022-07-12T08:27:37.167" v="1459" actId="1037"/>
          <ac:grpSpMkLst>
            <pc:docMk/>
            <pc:sldMk cId="195541985" sldId="2147469107"/>
            <ac:grpSpMk id="11" creationId="{2E226D07-B86F-480C-AC5A-EB45341F5339}"/>
          </ac:grpSpMkLst>
        </pc:grpChg>
        <pc:grpChg chg="mod">
          <ac:chgData name="Liu, Ming" userId="b7dc4ee5-33d1-4788-a870-056b4dc25991" providerId="ADAL" clId="{54FC117A-C4C0-451D-8F48-1A66860B9226}" dt="2022-07-12T08:27:37.167" v="1459" actId="1037"/>
          <ac:grpSpMkLst>
            <pc:docMk/>
            <pc:sldMk cId="195541985" sldId="2147469107"/>
            <ac:grpSpMk id="61" creationId="{8DD6F0B3-FBE7-45B1-A838-192730F8B356}"/>
          </ac:grpSpMkLst>
        </pc:grpChg>
        <pc:graphicFrameChg chg="add mod modGraphic">
          <ac:chgData name="Liu, Ming" userId="b7dc4ee5-33d1-4788-a870-056b4dc25991" providerId="ADAL" clId="{54FC117A-C4C0-451D-8F48-1A66860B9226}" dt="2022-07-12T08:30:03.869" v="1509" actId="1035"/>
          <ac:graphicFrameMkLst>
            <pc:docMk/>
            <pc:sldMk cId="195541985" sldId="2147469107"/>
            <ac:graphicFrameMk id="5" creationId="{EEA76437-EDD5-4596-A07A-763B5E588F2A}"/>
          </ac:graphicFrameMkLst>
        </pc:graphicFrameChg>
        <pc:graphicFrameChg chg="add del mod">
          <ac:chgData name="Liu, Ming" userId="b7dc4ee5-33d1-4788-a870-056b4dc25991" providerId="ADAL" clId="{54FC117A-C4C0-451D-8F48-1A66860B9226}" dt="2022-07-12T06:32:12.954" v="333"/>
          <ac:graphicFrameMkLst>
            <pc:docMk/>
            <pc:sldMk cId="195541985" sldId="2147469107"/>
            <ac:graphicFrameMk id="7" creationId="{117C5E6F-CBF5-45E7-A5B4-F825F7FB1151}"/>
          </ac:graphicFrameMkLst>
        </pc:graphicFrameChg>
        <pc:graphicFrameChg chg="mod">
          <ac:chgData name="Liu, Ming" userId="b7dc4ee5-33d1-4788-a870-056b4dc25991" providerId="ADAL" clId="{54FC117A-C4C0-451D-8F48-1A66860B9226}" dt="2022-07-12T08:27:37.167" v="1459" actId="1037"/>
          <ac:graphicFrameMkLst>
            <pc:docMk/>
            <pc:sldMk cId="195541985" sldId="2147469107"/>
            <ac:graphicFrameMk id="58" creationId="{2368B0FC-BBC7-4301-A3CF-7FC9C7EAA3E5}"/>
          </ac:graphicFrameMkLst>
        </pc:graphicFrameChg>
        <pc:picChg chg="mod">
          <ac:chgData name="Liu, Ming" userId="b7dc4ee5-33d1-4788-a870-056b4dc25991" providerId="ADAL" clId="{54FC117A-C4C0-451D-8F48-1A66860B9226}" dt="2022-07-12T08:27:37.167" v="1459" actId="1037"/>
          <ac:picMkLst>
            <pc:docMk/>
            <pc:sldMk cId="195541985" sldId="2147469107"/>
            <ac:picMk id="6" creationId="{945E287A-3F9C-4C9A-A7FA-7B0A638E6668}"/>
          </ac:picMkLst>
        </pc:picChg>
        <pc:picChg chg="add del mod">
          <ac:chgData name="Liu, Ming" userId="b7dc4ee5-33d1-4788-a870-056b4dc25991" providerId="ADAL" clId="{54FC117A-C4C0-451D-8F48-1A66860B9226}" dt="2022-07-12T07:13:57.921" v="1003" actId="478"/>
          <ac:picMkLst>
            <pc:docMk/>
            <pc:sldMk cId="195541985" sldId="2147469107"/>
            <ac:picMk id="9" creationId="{1DC3F0D6-8B64-4481-8C24-75BD047229C8}"/>
          </ac:picMkLst>
        </pc:picChg>
        <pc:picChg chg="mod">
          <ac:chgData name="Liu, Ming" userId="b7dc4ee5-33d1-4788-a870-056b4dc25991" providerId="ADAL" clId="{54FC117A-C4C0-451D-8F48-1A66860B9226}" dt="2022-07-12T08:27:37.167" v="1459" actId="1037"/>
          <ac:picMkLst>
            <pc:docMk/>
            <pc:sldMk cId="195541985" sldId="2147469107"/>
            <ac:picMk id="13" creationId="{F6EBA5A9-2155-4211-AA83-EC38ACCA9A97}"/>
          </ac:picMkLst>
        </pc:picChg>
        <pc:picChg chg="mod ord">
          <ac:chgData name="Liu, Ming" userId="b7dc4ee5-33d1-4788-a870-056b4dc25991" providerId="ADAL" clId="{54FC117A-C4C0-451D-8F48-1A66860B9226}" dt="2022-07-12T08:27:37.167" v="1459" actId="1037"/>
          <ac:picMkLst>
            <pc:docMk/>
            <pc:sldMk cId="195541985" sldId="2147469107"/>
            <ac:picMk id="30" creationId="{74CB3D79-E8AF-47AD-9FAC-240DF1F6EB14}"/>
          </ac:picMkLst>
        </pc:picChg>
      </pc:sldChg>
      <pc:sldChg chg="modSp mod">
        <pc:chgData name="Liu, Ming" userId="b7dc4ee5-33d1-4788-a870-056b4dc25991" providerId="ADAL" clId="{54FC117A-C4C0-451D-8F48-1A66860B9226}" dt="2022-07-12T07:31:43.422" v="1245" actId="1076"/>
        <pc:sldMkLst>
          <pc:docMk/>
          <pc:sldMk cId="1639535235" sldId="2147469118"/>
        </pc:sldMkLst>
        <pc:spChg chg="mod">
          <ac:chgData name="Liu, Ming" userId="b7dc4ee5-33d1-4788-a870-056b4dc25991" providerId="ADAL" clId="{54FC117A-C4C0-451D-8F48-1A66860B9226}" dt="2022-07-12T07:31:43.422" v="1245" actId="1076"/>
          <ac:spMkLst>
            <pc:docMk/>
            <pc:sldMk cId="1639535235" sldId="2147469118"/>
            <ac:spMk id="40" creationId="{24D4A88B-D9C6-4A35-A0AE-16E7F8CA8685}"/>
          </ac:spMkLst>
        </pc:spChg>
        <pc:spChg chg="mod">
          <ac:chgData name="Liu, Ming" userId="b7dc4ee5-33d1-4788-a870-056b4dc25991" providerId="ADAL" clId="{54FC117A-C4C0-451D-8F48-1A66860B9226}" dt="2022-07-12T06:15:18.740" v="84" actId="108"/>
          <ac:spMkLst>
            <pc:docMk/>
            <pc:sldMk cId="1639535235" sldId="2147469118"/>
            <ac:spMk id="90" creationId="{938BA836-E4A0-4CBA-B67F-79C622D696D7}"/>
          </ac:spMkLst>
        </pc:spChg>
      </pc:sldChg>
      <pc:sldChg chg="addSp delSp modSp mod">
        <pc:chgData name="Liu, Ming" userId="b7dc4ee5-33d1-4788-a870-056b4dc25991" providerId="ADAL" clId="{54FC117A-C4C0-451D-8F48-1A66860B9226}" dt="2022-07-12T07:50:04.745" v="1438" actId="478"/>
        <pc:sldMkLst>
          <pc:docMk/>
          <pc:sldMk cId="266915946" sldId="2147469119"/>
        </pc:sldMkLst>
        <pc:spChg chg="add del mod">
          <ac:chgData name="Liu, Ming" userId="b7dc4ee5-33d1-4788-a870-056b4dc25991" providerId="ADAL" clId="{54FC117A-C4C0-451D-8F48-1A66860B9226}" dt="2022-07-12T07:50:02.510" v="1437" actId="478"/>
          <ac:spMkLst>
            <pc:docMk/>
            <pc:sldMk cId="266915946" sldId="2147469119"/>
            <ac:spMk id="2" creationId="{4F55F07A-221B-4D25-9087-A95A8DC413DF}"/>
          </ac:spMkLst>
        </pc:spChg>
        <pc:spChg chg="mod">
          <ac:chgData name="Liu, Ming" userId="b7dc4ee5-33d1-4788-a870-056b4dc25991" providerId="ADAL" clId="{54FC117A-C4C0-451D-8F48-1A66860B9226}" dt="2022-07-12T07:47:30.661" v="1420" actId="20577"/>
          <ac:spMkLst>
            <pc:docMk/>
            <pc:sldMk cId="266915946" sldId="2147469119"/>
            <ac:spMk id="9" creationId="{5337293F-B9ED-44E4-B643-4CA66973FA07}"/>
          </ac:spMkLst>
        </pc:spChg>
        <pc:spChg chg="mod">
          <ac:chgData name="Liu, Ming" userId="b7dc4ee5-33d1-4788-a870-056b4dc25991" providerId="ADAL" clId="{54FC117A-C4C0-451D-8F48-1A66860B9226}" dt="2022-07-12T07:48:19.773" v="1424" actId="1076"/>
          <ac:spMkLst>
            <pc:docMk/>
            <pc:sldMk cId="266915946" sldId="2147469119"/>
            <ac:spMk id="16" creationId="{D8B94282-0F8B-440C-AE69-14B019F21621}"/>
          </ac:spMkLst>
        </pc:spChg>
        <pc:spChg chg="add del mod">
          <ac:chgData name="Liu, Ming" userId="b7dc4ee5-33d1-4788-a870-056b4dc25991" providerId="ADAL" clId="{54FC117A-C4C0-451D-8F48-1A66860B9226}" dt="2022-07-12T07:50:04.745" v="1438" actId="478"/>
          <ac:spMkLst>
            <pc:docMk/>
            <pc:sldMk cId="266915946" sldId="2147469119"/>
            <ac:spMk id="19" creationId="{5FA68F2B-94BE-4A6B-BC75-9CD817E9C762}"/>
          </ac:spMkLst>
        </pc:spChg>
        <pc:spChg chg="add del mod">
          <ac:chgData name="Liu, Ming" userId="b7dc4ee5-33d1-4788-a870-056b4dc25991" providerId="ADAL" clId="{54FC117A-C4C0-451D-8F48-1A66860B9226}" dt="2022-07-12T07:50:04.745" v="1438" actId="478"/>
          <ac:spMkLst>
            <pc:docMk/>
            <pc:sldMk cId="266915946" sldId="2147469119"/>
            <ac:spMk id="20" creationId="{7293A53B-CC3F-4738-8BE8-D48B101DAB10}"/>
          </ac:spMkLst>
        </pc:spChg>
      </pc:sldChg>
      <pc:sldChg chg="modSp mod">
        <pc:chgData name="Liu, Ming" userId="b7dc4ee5-33d1-4788-a870-056b4dc25991" providerId="ADAL" clId="{54FC117A-C4C0-451D-8F48-1A66860B9226}" dt="2022-07-12T06:14:34.054" v="75" actId="108"/>
        <pc:sldMkLst>
          <pc:docMk/>
          <pc:sldMk cId="1723409729" sldId="2147469122"/>
        </pc:sldMkLst>
        <pc:spChg chg="mod">
          <ac:chgData name="Liu, Ming" userId="b7dc4ee5-33d1-4788-a870-056b4dc25991" providerId="ADAL" clId="{54FC117A-C4C0-451D-8F48-1A66860B9226}" dt="2022-07-12T06:14:34.054" v="75" actId="108"/>
          <ac:spMkLst>
            <pc:docMk/>
            <pc:sldMk cId="1723409729" sldId="2147469122"/>
            <ac:spMk id="4" creationId="{7A4A4604-CB07-434E-9A3A-78A349A8341F}"/>
          </ac:spMkLst>
        </pc:spChg>
      </pc:sldChg>
      <pc:sldChg chg="modSp mod">
        <pc:chgData name="Liu, Ming" userId="b7dc4ee5-33d1-4788-a870-056b4dc25991" providerId="ADAL" clId="{54FC117A-C4C0-451D-8F48-1A66860B9226}" dt="2022-07-12T06:14:51.570" v="78" actId="255"/>
        <pc:sldMkLst>
          <pc:docMk/>
          <pc:sldMk cId="183527708" sldId="2147469123"/>
        </pc:sldMkLst>
        <pc:spChg chg="mod">
          <ac:chgData name="Liu, Ming" userId="b7dc4ee5-33d1-4788-a870-056b4dc25991" providerId="ADAL" clId="{54FC117A-C4C0-451D-8F48-1A66860B9226}" dt="2022-07-12T06:14:51.570" v="78" actId="255"/>
          <ac:spMkLst>
            <pc:docMk/>
            <pc:sldMk cId="183527708" sldId="2147469123"/>
            <ac:spMk id="15" creationId="{1404526E-CD7B-48EC-B30F-83958286BCD6}"/>
          </ac:spMkLst>
        </pc:spChg>
      </pc:sldChg>
      <pc:sldChg chg="modSp mod">
        <pc:chgData name="Liu, Ming" userId="b7dc4ee5-33d1-4788-a870-056b4dc25991" providerId="ADAL" clId="{54FC117A-C4C0-451D-8F48-1A66860B9226}" dt="2022-07-12T06:14:14.400" v="71" actId="404"/>
        <pc:sldMkLst>
          <pc:docMk/>
          <pc:sldMk cId="2434492675" sldId="2147469124"/>
        </pc:sldMkLst>
        <pc:spChg chg="mod">
          <ac:chgData name="Liu, Ming" userId="b7dc4ee5-33d1-4788-a870-056b4dc25991" providerId="ADAL" clId="{54FC117A-C4C0-451D-8F48-1A66860B9226}" dt="2022-07-12T06:14:14.400" v="71" actId="404"/>
          <ac:spMkLst>
            <pc:docMk/>
            <pc:sldMk cId="2434492675" sldId="2147469124"/>
            <ac:spMk id="7" creationId="{2C2BAD90-8768-4594-B763-EAA5E74C573D}"/>
          </ac:spMkLst>
        </pc:spChg>
      </pc:sldChg>
      <pc:sldChg chg="modSp mod">
        <pc:chgData name="Liu, Ming" userId="b7dc4ee5-33d1-4788-a870-056b4dc25991" providerId="ADAL" clId="{54FC117A-C4C0-451D-8F48-1A66860B9226}" dt="2022-07-12T06:14:28.339" v="73" actId="108"/>
        <pc:sldMkLst>
          <pc:docMk/>
          <pc:sldMk cId="786371180" sldId="2147469125"/>
        </pc:sldMkLst>
        <pc:spChg chg="mod">
          <ac:chgData name="Liu, Ming" userId="b7dc4ee5-33d1-4788-a870-056b4dc25991" providerId="ADAL" clId="{54FC117A-C4C0-451D-8F48-1A66860B9226}" dt="2022-07-12T06:14:28.339" v="73" actId="108"/>
          <ac:spMkLst>
            <pc:docMk/>
            <pc:sldMk cId="786371180" sldId="2147469125"/>
            <ac:spMk id="23" creationId="{CEA29446-1FB0-49C8-A4C0-10FB18583C85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361045253518605"/>
          <c:y val="7.2444145453978342E-2"/>
          <c:w val="0.55647399029844413"/>
          <c:h val="0.741750065464554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East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E830-4F86-A7E8-8C1A4BCA9BA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E830-4F86-A7E8-8C1A4BCA9BA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E830-4F86-A7E8-8C1A4BCA9BAD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FB70791F-9BC6-4A0E-89B0-74447F787659}" type="VALUE">
                      <a:rPr lang="en-US" altLang="zh-CN"/>
                      <a:pPr/>
                      <a:t>[值]</a:t>
                    </a:fld>
                    <a:r>
                      <a:rPr lang="en-US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830-4F86-A7E8-8C1A4BCA9BA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8A955C1-2058-4001-BB42-3F1B43FD8143}" type="VALUE">
                      <a:rPr lang="en-US" altLang="zh-CN"/>
                      <a:pPr/>
                      <a:t>[值]</a:t>
                    </a:fld>
                    <a:r>
                      <a:rPr lang="en-US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830-4F86-A7E8-8C1A4BCA9BAD}"/>
                </c:ext>
              </c:extLst>
            </c:dLbl>
            <c:dLbl>
              <c:idx val="2"/>
              <c:layout>
                <c:manualLayout>
                  <c:x val="-7.0452772788143518E-3"/>
                  <c:y val="-8.102515607798548E-2"/>
                </c:manualLayout>
              </c:layout>
              <c:tx>
                <c:rich>
                  <a:bodyPr/>
                  <a:lstStyle/>
                  <a:p>
                    <a:fld id="{9AE6BD34-CF78-4E80-AFAD-91D5D1643E55}" type="VALUE">
                      <a:rPr lang="en-US" altLang="zh-CN"/>
                      <a:pPr/>
                      <a:t>[值]</a:t>
                    </a:fld>
                    <a:r>
                      <a:rPr lang="en-US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830-4F86-A7E8-8C1A4BCA9BAD}"/>
                </c:ext>
              </c:extLst>
            </c:dLbl>
            <c:spPr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2NRTI+NNRTIs</c:v>
                </c:pt>
                <c:pt idx="1">
                  <c:v>2NRTIs+其他核心药物</c:v>
                </c:pt>
                <c:pt idx="2">
                  <c:v>其他方案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2.5</c:v>
                </c:pt>
                <c:pt idx="1">
                  <c:v>33.9</c:v>
                </c:pt>
                <c:pt idx="2">
                  <c:v>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830-4F86-A7E8-8C1A4BCA9BAD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959482443945669"/>
          <c:y val="4.3475702731958436E-2"/>
          <c:w val="0.370405119370249"/>
          <c:h val="0.58894726134263586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7009855D-4F36-4E76-B35A-AD2328A1B16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3586D246-2848-40D0-86A4-F957C1E622F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B78707-8388-4C82-84E2-31E63BD39A98}" type="datetimeFigureOut">
              <a:rPr lang="en-US" smtClean="0"/>
              <a:t>7/12/2022</a:t>
            </a:fld>
            <a:endParaRPr 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5BECE0FF-9195-4FE0-9754-79DA67C36A1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961E813B-2640-41B9-B872-F0ACE01333A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F4AA72-E7E0-4896-BB22-DE9E3443E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7196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96FCCE-3E89-4677-B67B-806C048D56AA}" type="datetimeFigureOut">
              <a:rPr lang="en-US" smtClean="0"/>
              <a:t>7/12/2022</a:t>
            </a:fld>
            <a:endParaRPr 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097001-CD30-4D7B-BC9F-8D5AA85503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722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1E3519-AA41-4C8F-81B1-98F81BDCD14B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913334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097001-CD30-4D7B-BC9F-8D5AA855030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0233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097001-CD30-4D7B-BC9F-8D5AA855030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6577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097001-CD30-4D7B-BC9F-8D5AA855030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101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097001-CD30-4D7B-BC9F-8D5AA855030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51267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097001-CD30-4D7B-BC9F-8D5AA855030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34544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68000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4590000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13989A-470D-4F86-A2CA-04215DCCB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133C79-2FC5-49E8-8C90-CC225D4F96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5F714B-66A6-4215-944E-86DD4151B4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C46ADF6-0E81-4141-A6D9-5BC78877DD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8419"/>
            <a:ext cx="581849" cy="217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63564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469948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FE95180-AF72-4AE9-AAB1-F705C583F7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E906CFED-EB13-44FF-A856-8AC9FD22D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C7EDAAA-AAE2-42D5-A752-5A88215208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712CDD63-0F5E-480D-BFFB-88CA9DCB93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823971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形状, 箭头&#10;&#10;描述已自动生成">
            <a:extLst>
              <a:ext uri="{FF2B5EF4-FFF2-40B4-BE49-F238E27FC236}">
                <a16:creationId xmlns:a16="http://schemas.microsoft.com/office/drawing/2014/main" id="{B43607EF-3ED2-4620-B777-55A908F4C4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图片 6" descr="背景图案&#10;&#10;描述已自动生成">
            <a:extLst>
              <a:ext uri="{FF2B5EF4-FFF2-40B4-BE49-F238E27FC236}">
                <a16:creationId xmlns:a16="http://schemas.microsoft.com/office/drawing/2014/main" id="{1ACB0C44-C33E-4DF1-9929-CF9A59B45B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886950" cy="6881923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B0B04668-3F98-41D0-BADE-E8F5C193E31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48" y="2851471"/>
            <a:ext cx="142666" cy="1097908"/>
          </a:xfrm>
          <a:prstGeom prst="rect">
            <a:avLst/>
          </a:prstGeom>
        </p:spPr>
      </p:pic>
      <p:pic>
        <p:nvPicPr>
          <p:cNvPr id="9" name="图片 8" descr="卡通画&#10;&#10;中度可信度描述已自动生成">
            <a:extLst>
              <a:ext uri="{FF2B5EF4-FFF2-40B4-BE49-F238E27FC236}">
                <a16:creationId xmlns:a16="http://schemas.microsoft.com/office/drawing/2014/main" id="{4D89F5D3-CE7F-49BD-9CDA-89EAD9CE48B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950" y="365125"/>
            <a:ext cx="1424608" cy="534228"/>
          </a:xfrm>
          <a:prstGeom prst="rect">
            <a:avLst/>
          </a:prstGeom>
        </p:spPr>
      </p:pic>
      <p:sp>
        <p:nvSpPr>
          <p:cNvPr id="15" name="副标题 2">
            <a:extLst>
              <a:ext uri="{FF2B5EF4-FFF2-40B4-BE49-F238E27FC236}">
                <a16:creationId xmlns:a16="http://schemas.microsoft.com/office/drawing/2014/main" id="{2C03D943-4ECB-4926-B512-FE1EED451C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4562055"/>
            <a:ext cx="4687957" cy="1241678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4" name="日期占位符 43">
            <a:extLst>
              <a:ext uri="{FF2B5EF4-FFF2-40B4-BE49-F238E27FC236}">
                <a16:creationId xmlns:a16="http://schemas.microsoft.com/office/drawing/2014/main" id="{A8F50171-DF92-4BC2-B73B-1F901D761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5" name="页脚占位符 44">
            <a:extLst>
              <a:ext uri="{FF2B5EF4-FFF2-40B4-BE49-F238E27FC236}">
                <a16:creationId xmlns:a16="http://schemas.microsoft.com/office/drawing/2014/main" id="{26D24AE7-483C-420C-AD2E-FEE428FA99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6" name="灯片编号占位符 45">
            <a:extLst>
              <a:ext uri="{FF2B5EF4-FFF2-40B4-BE49-F238E27FC236}">
                <a16:creationId xmlns:a16="http://schemas.microsoft.com/office/drawing/2014/main" id="{9F7C87CC-918C-45EA-A6AE-AA08E45329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25380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>
            <a:extLst>
              <a:ext uri="{FF2B5EF4-FFF2-40B4-BE49-F238E27FC236}">
                <a16:creationId xmlns:a16="http://schemas.microsoft.com/office/drawing/2014/main" id="{683C458B-15DC-448F-869B-88494B93B8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74816"/>
            <a:ext cx="12192000" cy="790575"/>
          </a:xfrm>
          <a:prstGeom prst="rect">
            <a:avLst/>
          </a:prstGeom>
        </p:spPr>
      </p:pic>
      <p:pic>
        <p:nvPicPr>
          <p:cNvPr id="36" name="图片 35" descr="徽标&#10;&#10;中度可信度描述已自动生成">
            <a:extLst>
              <a:ext uri="{FF2B5EF4-FFF2-40B4-BE49-F238E27FC236}">
                <a16:creationId xmlns:a16="http://schemas.microsoft.com/office/drawing/2014/main" id="{4F574ABA-1A50-459E-943D-8C0A5D30869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1446" y="376441"/>
            <a:ext cx="1336606" cy="500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503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6045A90-BB2D-4A5E-ABC3-759A0F353C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5A828FCF-8F10-45CB-B8ED-68267E745F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0DBA3E1-83F1-40D3-955B-F2DB4316AB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1CB3B0A1-9166-4AC7-9BB5-E5995C2C0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97D5C7B3-E424-4BB7-88F0-6C4B0F868BB6}"/>
              </a:ext>
            </a:extLst>
          </p:cNvPr>
          <p:cNvSpPr/>
          <p:nvPr userDrawn="1"/>
        </p:nvSpPr>
        <p:spPr>
          <a:xfrm>
            <a:off x="356891" y="6065121"/>
            <a:ext cx="11520000" cy="124028"/>
          </a:xfrm>
          <a:prstGeom prst="rect">
            <a:avLst/>
          </a:prstGeom>
          <a:solidFill>
            <a:srgbClr val="EE92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6632776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BC756E22-C723-4045-9169-A9A9B55D14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15988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9" imgW="338" imgH="338" progId="TCLayout.ActiveDocument.1">
                  <p:embed/>
                </p:oleObj>
              </mc:Choice>
              <mc:Fallback>
                <p:oleObj name="think-cell 幻灯片" r:id="rId9" imgW="338" imgH="338" progId="TCLayout.ActiveDocument.1">
                  <p:embed/>
                  <p:pic>
                    <p:nvPicPr>
                      <p:cNvPr id="7" name="对象 6" hidden="1">
                        <a:extLst>
                          <a:ext uri="{FF2B5EF4-FFF2-40B4-BE49-F238E27FC236}">
                            <a16:creationId xmlns:a16="http://schemas.microsoft.com/office/drawing/2014/main" id="{BC756E22-C723-4045-9169-A9A9B55D14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1925636"/>
            <a:ext cx="11436350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CD66206D-F5D5-4F9C-AAB1-32FBC26BE26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8419"/>
            <a:ext cx="581849" cy="217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711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62" r:id="rId2"/>
    <p:sldLayoutId id="2147483683" r:id="rId3"/>
    <p:sldLayoutId id="2147483684" r:id="rId4"/>
    <p:sldLayoutId id="2147483685" r:id="rId5"/>
    <p:sldLayoutId id="2147483686" r:id="rId6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750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1200" kern="1200">
          <a:solidFill>
            <a:schemeClr val="accent4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600" b="0" kern="1200">
          <a:solidFill>
            <a:schemeClr val="accent4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40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3000" kern="1200">
          <a:solidFill>
            <a:schemeClr val="accent1"/>
          </a:solidFill>
          <a:latin typeface="+mj-lt"/>
          <a:ea typeface="+mn-ea"/>
          <a:cs typeface="+mn-cs"/>
        </a:defRPr>
      </a:lvl4pPr>
      <a:lvl5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kern="1200">
          <a:solidFill>
            <a:schemeClr val="accent4"/>
          </a:solidFill>
          <a:latin typeface="+mn-lt"/>
          <a:ea typeface="+mn-ea"/>
          <a:cs typeface="+mn-cs"/>
        </a:defRPr>
      </a:lvl5pPr>
      <a:lvl6pPr marL="216000" indent="-1080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kern="1200">
          <a:solidFill>
            <a:schemeClr val="accent4"/>
          </a:solidFill>
          <a:latin typeface="+mn-lt"/>
          <a:ea typeface="+mn-ea"/>
          <a:cs typeface="+mn-cs"/>
        </a:defRPr>
      </a:lvl6pPr>
      <a:lvl7pPr marL="324000" indent="-1080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kern="1200">
          <a:solidFill>
            <a:schemeClr val="accent4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38">
          <p15:clr>
            <a:srgbClr val="F26B43"/>
          </p15:clr>
        </p15:guide>
        <p15:guide id="4" pos="2511">
          <p15:clr>
            <a:srgbClr val="F26B43"/>
          </p15:clr>
        </p15:guide>
        <p15:guide id="5" pos="2704">
          <p15:clr>
            <a:srgbClr val="F26B43"/>
          </p15:clr>
        </p15:guide>
        <p15:guide id="6" pos="4977">
          <p15:clr>
            <a:srgbClr val="F26B43"/>
          </p15:clr>
        </p15:guide>
        <p15:guide id="7" pos="5169">
          <p15:clr>
            <a:srgbClr val="F26B43"/>
          </p15:clr>
        </p15:guide>
        <p15:guide id="8" pos="7442">
          <p15:clr>
            <a:srgbClr val="F26B43"/>
          </p15:clr>
        </p15:guide>
        <p15:guide id="9" orient="horz" pos="238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orient="horz" pos="1751">
          <p15:clr>
            <a:srgbClr val="F26B43"/>
          </p15:clr>
        </p15:guide>
        <p15:guide id="12" orient="horz" pos="1213">
          <p15:clr>
            <a:srgbClr val="F26B43"/>
          </p15:clr>
        </p15:guide>
        <p15:guide id="13" orient="horz" pos="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4" Type="http://schemas.openxmlformats.org/officeDocument/2006/relationships/image" Target="../media/image10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7.png"/><Relationship Id="rId12" Type="http://schemas.microsoft.com/office/2007/relationships/hdphoto" Target="../media/hdphoto2.wdp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image" Target="../media/image26.png"/><Relationship Id="rId11" Type="http://schemas.openxmlformats.org/officeDocument/2006/relationships/image" Target="../media/image30.png"/><Relationship Id="rId5" Type="http://schemas.openxmlformats.org/officeDocument/2006/relationships/image" Target="../media/image24.emf"/><Relationship Id="rId10" Type="http://schemas.openxmlformats.org/officeDocument/2006/relationships/image" Target="../media/image29.png"/><Relationship Id="rId4" Type="http://schemas.openxmlformats.org/officeDocument/2006/relationships/oleObject" Target="../embeddings/oleObject8.bin"/><Relationship Id="rId9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5" Type="http://schemas.openxmlformats.org/officeDocument/2006/relationships/image" Target="../media/image12.sv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1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4" Type="http://schemas.openxmlformats.org/officeDocument/2006/relationships/image" Target="../media/image10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5" Type="http://schemas.openxmlformats.org/officeDocument/2006/relationships/image" Target="../media/image23.png"/><Relationship Id="rId4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0BBFA9EA-4187-414E-AD1B-123082BBBF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1878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0" imgH="469" progId="TCLayout.ActiveDocument.1">
                  <p:embed/>
                </p:oleObj>
              </mc:Choice>
              <mc:Fallback>
                <p:oleObj name="think-cell 幻灯片" r:id="rId3" imgW="470" imgH="469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0BBFA9EA-4187-414E-AD1B-123082BBBF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副标题 3">
            <a:extLst>
              <a:ext uri="{FF2B5EF4-FFF2-40B4-BE49-F238E27FC236}">
                <a16:creationId xmlns:a16="http://schemas.microsoft.com/office/drawing/2014/main" id="{B1930891-AE01-4450-A1AF-68E3E321BB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199" y="2808161"/>
            <a:ext cx="6141721" cy="1241678"/>
          </a:xfrm>
        </p:spPr>
        <p:txBody>
          <a:bodyPr>
            <a:normAutofit/>
          </a:bodyPr>
          <a:lstStyle/>
          <a:p>
            <a:r>
              <a:rPr lang="zh-CN" altLang="en-US" sz="3200" b="1" dirty="0">
                <a:cs typeface="+mn-ea"/>
                <a:sym typeface="+mn-lt"/>
              </a:rPr>
              <a:t>多拉米替片（</a:t>
            </a:r>
            <a:r>
              <a:rPr lang="zh-CN" altLang="en-US" sz="2800" b="1" dirty="0">
                <a:cs typeface="+mn-ea"/>
                <a:sym typeface="+mn-lt"/>
              </a:rPr>
              <a:t>德思卓</a:t>
            </a:r>
            <a:r>
              <a:rPr lang="en-US" altLang="zh-CN" sz="3200" b="1" baseline="30000" dirty="0">
                <a:cs typeface="+mn-ea"/>
                <a:sym typeface="+mn-lt"/>
              </a:rPr>
              <a:t>®</a:t>
            </a:r>
            <a:r>
              <a:rPr lang="zh-CN" altLang="en-US" sz="3200" b="1" dirty="0">
                <a:cs typeface="+mn-ea"/>
                <a:sym typeface="+mn-lt"/>
              </a:rPr>
              <a:t>）</a:t>
            </a:r>
            <a:endParaRPr lang="en-US" altLang="zh-CN" sz="3200" b="1" dirty="0">
              <a:cs typeface="+mn-ea"/>
              <a:sym typeface="+mn-lt"/>
            </a:endParaRPr>
          </a:p>
          <a:p>
            <a:r>
              <a:rPr lang="zh-CN" altLang="en-US" sz="3200" dirty="0">
                <a:cs typeface="+mn-ea"/>
                <a:sym typeface="+mn-lt"/>
              </a:rPr>
              <a:t>产品介绍</a:t>
            </a:r>
            <a:endParaRPr lang="en-US" sz="3200" dirty="0">
              <a:cs typeface="+mn-ea"/>
              <a:sym typeface="+mn-lt"/>
            </a:endParaRPr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1D65EA1C-DDC5-495D-8500-78B470907C72}"/>
              </a:ext>
            </a:extLst>
          </p:cNvPr>
          <p:cNvSpPr txBox="1">
            <a:spLocks/>
          </p:cNvSpPr>
          <p:nvPr/>
        </p:nvSpPr>
        <p:spPr>
          <a:xfrm>
            <a:off x="708428" y="5345525"/>
            <a:ext cx="4028787" cy="5958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4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zh-CN" altLang="en-US" sz="2400" b="1" dirty="0">
                <a:cs typeface="+mn-ea"/>
                <a:sym typeface="+mn-lt"/>
              </a:rPr>
              <a:t>默沙东（中国）投资有限公司</a:t>
            </a:r>
            <a:endParaRPr lang="en-US" sz="2400" b="1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D372570-220B-4507-A57B-85DECEB41458}"/>
              </a:ext>
            </a:extLst>
          </p:cNvPr>
          <p:cNvSpPr txBox="1"/>
          <p:nvPr/>
        </p:nvSpPr>
        <p:spPr>
          <a:xfrm>
            <a:off x="5478332" y="3059668"/>
            <a:ext cx="609420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3200" b="1" dirty="0">
                <a:solidFill>
                  <a:schemeClr val="accent3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三大权威指南一致推荐</a:t>
            </a:r>
            <a:endParaRPr lang="en-US" altLang="zh-CN" sz="3200" b="1" dirty="0">
              <a:solidFill>
                <a:schemeClr val="accent3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119076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17EC9D8-A0C8-4739-BE66-ADB3253FAD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2582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17EC9D8-A0C8-4739-BE66-ADB3253FAD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7" name="矩形 1">
            <a:extLst>
              <a:ext uri="{FF2B5EF4-FFF2-40B4-BE49-F238E27FC236}">
                <a16:creationId xmlns:a16="http://schemas.microsoft.com/office/drawing/2014/main" id="{3F66FB45-EA9A-464A-96A7-754BAF4A2163}"/>
              </a:ext>
            </a:extLst>
          </p:cNvPr>
          <p:cNvSpPr/>
          <p:nvPr/>
        </p:nvSpPr>
        <p:spPr>
          <a:xfrm>
            <a:off x="44031" y="6209648"/>
            <a:ext cx="12192000" cy="68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64" name="文本框 42">
            <a:extLst>
              <a:ext uri="{FF2B5EF4-FFF2-40B4-BE49-F238E27FC236}">
                <a16:creationId xmlns:a16="http://schemas.microsoft.com/office/drawing/2014/main" id="{EB228861-9C21-4F68-8539-10A400822A0C}"/>
              </a:ext>
            </a:extLst>
          </p:cNvPr>
          <p:cNvSpPr txBox="1"/>
          <p:nvPr/>
        </p:nvSpPr>
        <p:spPr>
          <a:xfrm>
            <a:off x="6335385" y="3098882"/>
            <a:ext cx="35747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 b="1" spc="5">
                <a:solidFill>
                  <a:srgbClr val="EA6B14"/>
                </a:solidFill>
                <a:cs typeface="+mn-ea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sz="1800" kern="100" dirty="0">
                <a:solidFill>
                  <a:schemeClr val="accent1"/>
                </a:solidFill>
                <a:sym typeface="+mn-lt"/>
              </a:rPr>
              <a:t>对体重影响轻微</a:t>
            </a:r>
            <a:r>
              <a:rPr lang="en-GB" altLang="zh-CN" sz="1800" kern="100" baseline="30000" dirty="0">
                <a:solidFill>
                  <a:schemeClr val="accent1"/>
                </a:solidFill>
                <a:sym typeface="+mn-lt"/>
              </a:rPr>
              <a:t>2</a:t>
            </a:r>
            <a:endParaRPr lang="en-US" sz="1800" kern="100" baseline="30000" dirty="0">
              <a:solidFill>
                <a:schemeClr val="accent1"/>
              </a:solidFill>
              <a:sym typeface="+mn-lt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45314F52-95FA-4291-BA00-70F5217E7D03}"/>
              </a:ext>
            </a:extLst>
          </p:cNvPr>
          <p:cNvSpPr txBox="1"/>
          <p:nvPr/>
        </p:nvSpPr>
        <p:spPr>
          <a:xfrm>
            <a:off x="16783" y="6271196"/>
            <a:ext cx="5648521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44000" indent="-144000">
              <a:buFont typeface="+mj-lt"/>
              <a:buAutoNum type="arabicPeriod"/>
            </a:pPr>
            <a:r>
              <a:rPr lang="da-DK" sz="700" dirty="0">
                <a:cs typeface="+mn-ea"/>
                <a:sym typeface="+mn-lt"/>
              </a:rPr>
              <a:t>Bijker R,et al. HIV Med. 2019;20(3):183-191.</a:t>
            </a:r>
          </a:p>
          <a:p>
            <a:pPr marL="144000" indent="-144000">
              <a:buFont typeface="+mj-lt"/>
              <a:buAutoNum type="arabicPeriod"/>
            </a:pPr>
            <a:r>
              <a:rPr lang="en-US" sz="700" dirty="0">
                <a:cs typeface="+mn-ea"/>
                <a:sym typeface="+mn-lt"/>
              </a:rPr>
              <a:t>Kumar P, et al. J </a:t>
            </a:r>
            <a:r>
              <a:rPr lang="en-US" sz="700" dirty="0" err="1">
                <a:cs typeface="+mn-ea"/>
                <a:sym typeface="+mn-lt"/>
              </a:rPr>
              <a:t>Acquir</a:t>
            </a:r>
            <a:r>
              <a:rPr lang="en-US" sz="700" dirty="0">
                <a:cs typeface="+mn-ea"/>
                <a:sym typeface="+mn-lt"/>
              </a:rPr>
              <a:t> Immune </a:t>
            </a:r>
            <a:r>
              <a:rPr lang="en-US" sz="700" dirty="0" err="1">
                <a:cs typeface="+mn-ea"/>
                <a:sym typeface="+mn-lt"/>
              </a:rPr>
              <a:t>Defic</a:t>
            </a:r>
            <a:r>
              <a:rPr lang="en-US" sz="700" dirty="0">
                <a:cs typeface="+mn-ea"/>
                <a:sym typeface="+mn-lt"/>
              </a:rPr>
              <a:t> </a:t>
            </a:r>
            <a:r>
              <a:rPr lang="en-US" sz="700" dirty="0" err="1">
                <a:cs typeface="+mn-ea"/>
                <a:sym typeface="+mn-lt"/>
              </a:rPr>
              <a:t>Syndr</a:t>
            </a:r>
            <a:r>
              <a:rPr lang="en-US" sz="700" dirty="0">
                <a:cs typeface="+mn-ea"/>
                <a:sym typeface="+mn-lt"/>
              </a:rPr>
              <a:t>. 2021 Feb 17.</a:t>
            </a:r>
            <a:endParaRPr lang="en-US" altLang="zh-CN" sz="600" dirty="0">
              <a:solidFill>
                <a:prstClr val="black"/>
              </a:solidFill>
              <a:cs typeface="+mn-ea"/>
              <a:sym typeface="+mn-lt"/>
            </a:endParaRPr>
          </a:p>
          <a:p>
            <a:pPr marL="144000" indent="-144000">
              <a:buFont typeface="+mj-lt"/>
              <a:buAutoNum type="arabicPeriod"/>
            </a:pPr>
            <a:r>
              <a:rPr lang="en-US" altLang="zh-CN" sz="600" dirty="0">
                <a:solidFill>
                  <a:prstClr val="black"/>
                </a:solidFill>
                <a:cs typeface="+mn-ea"/>
                <a:sym typeface="+mn-lt"/>
              </a:rPr>
              <a:t>Bastian N</a:t>
            </a:r>
            <a:r>
              <a:rPr lang="en-GB" altLang="zh-CN" sz="600" dirty="0">
                <a:solidFill>
                  <a:prstClr val="black"/>
                </a:solidFill>
                <a:cs typeface="+mn-ea"/>
                <a:sym typeface="+mn-lt"/>
              </a:rPr>
              <a:t>,</a:t>
            </a:r>
            <a:r>
              <a:rPr lang="zh-CN" altLang="en-US" sz="600" dirty="0">
                <a:solidFill>
                  <a:prstClr val="black"/>
                </a:solidFill>
                <a:cs typeface="+mn-ea"/>
                <a:sym typeface="+mn-lt"/>
              </a:rPr>
              <a:t> </a:t>
            </a:r>
            <a:r>
              <a:rPr lang="en-GB" altLang="zh-CN" sz="600" dirty="0">
                <a:solidFill>
                  <a:prstClr val="black"/>
                </a:solidFill>
                <a:cs typeface="+mn-ea"/>
                <a:sym typeface="+mn-lt"/>
              </a:rPr>
              <a:t>et</a:t>
            </a:r>
            <a:r>
              <a:rPr lang="zh-CN" altLang="en-US" sz="600" dirty="0">
                <a:solidFill>
                  <a:prstClr val="black"/>
                </a:solidFill>
                <a:cs typeface="+mn-ea"/>
                <a:sym typeface="+mn-lt"/>
              </a:rPr>
              <a:t> </a:t>
            </a:r>
            <a:r>
              <a:rPr lang="en-GB" altLang="zh-CN" sz="600" dirty="0">
                <a:solidFill>
                  <a:prstClr val="black"/>
                </a:solidFill>
                <a:cs typeface="+mn-ea"/>
                <a:sym typeface="+mn-lt"/>
              </a:rPr>
              <a:t>al.</a:t>
            </a:r>
            <a:r>
              <a:rPr lang="zh-CN" altLang="en-US" sz="600" dirty="0">
                <a:solidFill>
                  <a:prstClr val="black"/>
                </a:solidFill>
                <a:cs typeface="+mn-ea"/>
                <a:sym typeface="+mn-lt"/>
              </a:rPr>
              <a:t> </a:t>
            </a:r>
            <a:r>
              <a:rPr lang="en-GB" altLang="zh-CN" sz="600" dirty="0">
                <a:solidFill>
                  <a:prstClr val="black"/>
                </a:solidFill>
                <a:cs typeface="+mn-ea"/>
                <a:sym typeface="+mn-lt"/>
              </a:rPr>
              <a:t>Lancet HIV,  2022, https://doi.org/10.1016/S2352-3018(22)00122-9</a:t>
            </a:r>
          </a:p>
          <a:p>
            <a:pPr marL="144000" indent="-144000">
              <a:buFont typeface="+mj-lt"/>
              <a:buAutoNum type="arabicPeriod"/>
            </a:pPr>
            <a:r>
              <a:rPr lang="en-US" sz="600" dirty="0">
                <a:solidFill>
                  <a:schemeClr val="tx1"/>
                </a:solidFill>
                <a:cs typeface="+mn-ea"/>
                <a:sym typeface="+mn-lt"/>
              </a:rPr>
              <a:t>European AIDS Clinical Society. </a:t>
            </a:r>
            <a:r>
              <a:rPr lang="en-US" sz="600" dirty="0">
                <a:cs typeface="+mn-ea"/>
                <a:sym typeface="+mn-lt"/>
              </a:rPr>
              <a:t>https://www.eacsociety.org/files/20</a:t>
            </a:r>
            <a:r>
              <a:rPr lang="en-US" altLang="zh-CN" sz="600" dirty="0">
                <a:cs typeface="+mn-ea"/>
                <a:sym typeface="+mn-lt"/>
              </a:rPr>
              <a:t>21</a:t>
            </a:r>
            <a:r>
              <a:rPr lang="en-US" sz="600" dirty="0">
                <a:cs typeface="+mn-ea"/>
                <a:sym typeface="+mn-lt"/>
              </a:rPr>
              <a:t>_guidelines-1</a:t>
            </a:r>
            <a:r>
              <a:rPr lang="en-US" altLang="zh-CN" sz="600" dirty="0">
                <a:cs typeface="+mn-ea"/>
                <a:sym typeface="+mn-lt"/>
              </a:rPr>
              <a:t>1</a:t>
            </a:r>
            <a:r>
              <a:rPr lang="en-US" sz="600" dirty="0">
                <a:cs typeface="+mn-ea"/>
                <a:sym typeface="+mn-lt"/>
              </a:rPr>
              <a:t>.0</a:t>
            </a:r>
            <a:r>
              <a:rPr lang="en-US" sz="600" dirty="0">
                <a:solidFill>
                  <a:schemeClr val="tx1"/>
                </a:solidFill>
                <a:cs typeface="+mn-ea"/>
                <a:sym typeface="+mn-lt"/>
              </a:rPr>
              <a:t>_final.pdf. Accessed </a:t>
            </a:r>
            <a:r>
              <a:rPr lang="en-US" altLang="zh-CN" sz="600" dirty="0">
                <a:solidFill>
                  <a:schemeClr val="tx1"/>
                </a:solidFill>
                <a:cs typeface="+mn-ea"/>
                <a:sym typeface="+mn-lt"/>
              </a:rPr>
              <a:t>Oct</a:t>
            </a:r>
            <a:r>
              <a:rPr lang="en-US" sz="600" dirty="0">
                <a:solidFill>
                  <a:schemeClr val="tx1"/>
                </a:solidFill>
                <a:cs typeface="+mn-ea"/>
                <a:sym typeface="+mn-lt"/>
              </a:rPr>
              <a:t> , 202</a:t>
            </a:r>
            <a:r>
              <a:rPr lang="en-US" altLang="zh-CN" sz="600" dirty="0">
                <a:solidFill>
                  <a:schemeClr val="tx1"/>
                </a:solidFill>
                <a:cs typeface="+mn-ea"/>
                <a:sym typeface="+mn-lt"/>
              </a:rPr>
              <a:t>1</a:t>
            </a:r>
            <a:r>
              <a:rPr lang="en-US" sz="600" dirty="0">
                <a:solidFill>
                  <a:schemeClr val="tx1"/>
                </a:solidFill>
                <a:cs typeface="+mn-ea"/>
                <a:sym typeface="+mn-lt"/>
              </a:rPr>
              <a:t>.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38BA836-E4A0-4CBA-B67F-79C622D696D7}"/>
              </a:ext>
            </a:extLst>
          </p:cNvPr>
          <p:cNvSpPr txBox="1">
            <a:spLocks/>
          </p:cNvSpPr>
          <p:nvPr/>
        </p:nvSpPr>
        <p:spPr>
          <a:xfrm>
            <a:off x="367458" y="1418447"/>
            <a:ext cx="11576060" cy="4009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 b="1" spc="-5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多拉米替片是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HIV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感染者</a:t>
            </a:r>
            <a:r>
              <a:rPr lang="zh-CN" altLang="en-US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ea"/>
                <a:sym typeface="+mn-lt"/>
              </a:rPr>
              <a:t>心血管风险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管理的</a:t>
            </a:r>
            <a:r>
              <a:rPr lang="zh-CN" altLang="en-US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ea"/>
                <a:sym typeface="+mn-lt"/>
              </a:rPr>
              <a:t>优选方案</a:t>
            </a:r>
          </a:p>
        </p:txBody>
      </p:sp>
      <p:sp>
        <p:nvSpPr>
          <p:cNvPr id="48" name="文本框 9">
            <a:extLst>
              <a:ext uri="{FF2B5EF4-FFF2-40B4-BE49-F238E27FC236}">
                <a16:creationId xmlns:a16="http://schemas.microsoft.com/office/drawing/2014/main" id="{17441A43-8331-48D6-8AA4-CD5E40E55345}"/>
              </a:ext>
            </a:extLst>
          </p:cNvPr>
          <p:cNvSpPr txBox="1"/>
          <p:nvPr/>
        </p:nvSpPr>
        <p:spPr>
          <a:xfrm flipH="1">
            <a:off x="6357878" y="2528228"/>
            <a:ext cx="54479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cs typeface="+mn-ea"/>
                <a:sym typeface="+mn-lt"/>
              </a:rPr>
              <a:t>转换为多拉米替后，截止</a:t>
            </a:r>
            <a:r>
              <a:rPr lang="en-US" altLang="zh-CN" sz="1400" dirty="0">
                <a:cs typeface="+mn-ea"/>
                <a:sym typeface="+mn-lt"/>
              </a:rPr>
              <a:t>144</a:t>
            </a:r>
            <a:r>
              <a:rPr lang="zh-CN" altLang="en-US" sz="1400" dirty="0">
                <a:cs typeface="+mn-ea"/>
                <a:sym typeface="+mn-lt"/>
              </a:rPr>
              <a:t>周受试者</a:t>
            </a:r>
            <a:endParaRPr lang="en-US" altLang="zh-CN" sz="1400" dirty="0">
              <a:cs typeface="+mn-ea"/>
              <a:sym typeface="+mn-lt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b="1" kern="100" spc="5" dirty="0">
                <a:solidFill>
                  <a:schemeClr val="accent1"/>
                </a:solidFill>
                <a:cs typeface="+mn-ea"/>
                <a:sym typeface="+mn-lt"/>
              </a:rPr>
              <a:t>LDL-C</a:t>
            </a:r>
            <a:r>
              <a:rPr lang="zh-CN" altLang="en-US" b="1" kern="100" spc="5" dirty="0">
                <a:solidFill>
                  <a:schemeClr val="accent1"/>
                </a:solidFill>
                <a:cs typeface="+mn-ea"/>
                <a:sym typeface="+mn-lt"/>
              </a:rPr>
              <a:t>，非</a:t>
            </a:r>
            <a:r>
              <a:rPr lang="en-US" altLang="zh-CN" b="1" kern="100" spc="5" dirty="0">
                <a:solidFill>
                  <a:schemeClr val="accent1"/>
                </a:solidFill>
                <a:cs typeface="+mn-ea"/>
                <a:sym typeface="+mn-lt"/>
              </a:rPr>
              <a:t>HDL-C</a:t>
            </a:r>
            <a:r>
              <a:rPr lang="zh-CN" altLang="en-US" b="1" kern="100" spc="5" dirty="0">
                <a:solidFill>
                  <a:schemeClr val="accent1"/>
                </a:solidFill>
                <a:cs typeface="+mn-ea"/>
                <a:sym typeface="+mn-lt"/>
              </a:rPr>
              <a:t>、总固醇和甘油三酯下降明显</a:t>
            </a:r>
            <a:r>
              <a:rPr lang="en-US" altLang="zh-CN" b="1" kern="100" spc="5" baseline="30000" dirty="0">
                <a:solidFill>
                  <a:schemeClr val="accent1"/>
                </a:solidFill>
                <a:cs typeface="+mn-ea"/>
                <a:sym typeface="+mn-lt"/>
              </a:rPr>
              <a:t>2</a:t>
            </a:r>
            <a:endParaRPr lang="en-US" b="1" kern="100" spc="5" baseline="300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0904833-2D3E-47F1-9422-C66E1B991E87}"/>
              </a:ext>
            </a:extLst>
          </p:cNvPr>
          <p:cNvGrpSpPr/>
          <p:nvPr/>
        </p:nvGrpSpPr>
        <p:grpSpPr>
          <a:xfrm>
            <a:off x="6599990" y="3627228"/>
            <a:ext cx="5205881" cy="1812325"/>
            <a:chOff x="386961" y="2910960"/>
            <a:chExt cx="5047674" cy="1794492"/>
          </a:xfrm>
        </p:grpSpPr>
        <p:pic>
          <p:nvPicPr>
            <p:cNvPr id="45" name="图片 3">
              <a:extLst>
                <a:ext uri="{FF2B5EF4-FFF2-40B4-BE49-F238E27FC236}">
                  <a16:creationId xmlns:a16="http://schemas.microsoft.com/office/drawing/2014/main" id="{14C71B01-F4EB-47CC-8C60-C65ABFCAF1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grayscl/>
            </a:blip>
            <a:srcRect l="3294" t="9722"/>
            <a:stretch/>
          </p:blipFill>
          <p:spPr>
            <a:xfrm>
              <a:off x="386961" y="2910960"/>
              <a:ext cx="4817667" cy="1794492"/>
            </a:xfrm>
            <a:prstGeom prst="rect">
              <a:avLst/>
            </a:prstGeom>
          </p:spPr>
        </p:pic>
        <p:sp>
          <p:nvSpPr>
            <p:cNvPr id="47" name="文本框 7">
              <a:extLst>
                <a:ext uri="{FF2B5EF4-FFF2-40B4-BE49-F238E27FC236}">
                  <a16:creationId xmlns:a16="http://schemas.microsoft.com/office/drawing/2014/main" id="{3FBBDCE8-9F54-40C8-A0BD-CF52F3853718}"/>
                </a:ext>
              </a:extLst>
            </p:cNvPr>
            <p:cNvSpPr txBox="1"/>
            <p:nvPr/>
          </p:nvSpPr>
          <p:spPr>
            <a:xfrm rot="16200000">
              <a:off x="25220" y="3624705"/>
              <a:ext cx="939958" cy="20889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zh-CN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平均改变</a:t>
              </a:r>
              <a:r>
                <a:rPr lang="en-US" altLang="zh-CN" sz="8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(mg/dL)</a:t>
              </a:r>
              <a:endPara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50" name="文本框 20">
              <a:extLst>
                <a:ext uri="{FF2B5EF4-FFF2-40B4-BE49-F238E27FC236}">
                  <a16:creationId xmlns:a16="http://schemas.microsoft.com/office/drawing/2014/main" id="{8D1D8256-ED24-4134-804B-7275618F021F}"/>
                </a:ext>
              </a:extLst>
            </p:cNvPr>
            <p:cNvSpPr txBox="1"/>
            <p:nvPr/>
          </p:nvSpPr>
          <p:spPr>
            <a:xfrm>
              <a:off x="4553043" y="3612648"/>
              <a:ext cx="881592" cy="243798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zh-CN" alt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转换后</a:t>
              </a:r>
              <a:r>
                <a:rPr lang="en-US" altLang="zh-CN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144</a:t>
              </a:r>
              <a:r>
                <a:rPr lang="zh-CN" alt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周</a:t>
              </a:r>
              <a:endPara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  <p:pic>
          <p:nvPicPr>
            <p:cNvPr id="46" name="图片 8">
              <a:extLst>
                <a:ext uri="{FF2B5EF4-FFF2-40B4-BE49-F238E27FC236}">
                  <a16:creationId xmlns:a16="http://schemas.microsoft.com/office/drawing/2014/main" id="{64B2D620-0532-40B2-86F5-C5DA04FD985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grayscl/>
            </a:blip>
            <a:stretch>
              <a:fillRect/>
            </a:stretch>
          </p:blipFill>
          <p:spPr>
            <a:xfrm>
              <a:off x="838093" y="3969649"/>
              <a:ext cx="735293" cy="369796"/>
            </a:xfrm>
            <a:prstGeom prst="rect">
              <a:avLst/>
            </a:prstGeom>
          </p:spPr>
        </p:pic>
        <p:sp>
          <p:nvSpPr>
            <p:cNvPr id="812" name="文本框 23">
              <a:extLst>
                <a:ext uri="{FF2B5EF4-FFF2-40B4-BE49-F238E27FC236}">
                  <a16:creationId xmlns:a16="http://schemas.microsoft.com/office/drawing/2014/main" id="{91AD66B4-ABAE-4D50-842F-A645CB0428A8}"/>
                </a:ext>
              </a:extLst>
            </p:cNvPr>
            <p:cNvSpPr txBox="1"/>
            <p:nvPr/>
          </p:nvSpPr>
          <p:spPr>
            <a:xfrm>
              <a:off x="1008566" y="4436661"/>
              <a:ext cx="4280434" cy="22856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LDL-C                </a:t>
              </a:r>
              <a:r>
                <a:rPr lang="zh-CN" altLang="en-US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非</a:t>
              </a:r>
              <a:r>
                <a:rPr lang="en-US" altLang="zh-C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-HDL-C           </a:t>
              </a:r>
              <a:r>
                <a:rPr lang="zh-CN" altLang="en-US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胆固醇              甘油三酯              </a:t>
              </a:r>
              <a:r>
                <a:rPr lang="en-US" altLang="zh-C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HDL-C</a:t>
              </a:r>
              <a:endPara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2C5287F5-A5EE-49EE-8D67-F8D2A0C044DC}"/>
                </a:ext>
              </a:extLst>
            </p:cNvPr>
            <p:cNvSpPr/>
            <p:nvPr/>
          </p:nvSpPr>
          <p:spPr>
            <a:xfrm>
              <a:off x="4444628" y="3522242"/>
              <a:ext cx="108000" cy="108000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171" name="Rectangle 1170">
              <a:extLst>
                <a:ext uri="{FF2B5EF4-FFF2-40B4-BE49-F238E27FC236}">
                  <a16:creationId xmlns:a16="http://schemas.microsoft.com/office/drawing/2014/main" id="{89D68272-12E5-44A2-8E34-B22B2AD602C4}"/>
                </a:ext>
              </a:extLst>
            </p:cNvPr>
            <p:cNvSpPr/>
            <p:nvPr/>
          </p:nvSpPr>
          <p:spPr>
            <a:xfrm>
              <a:off x="4444628" y="3700728"/>
              <a:ext cx="108000" cy="108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49" name="文本框 19">
              <a:extLst>
                <a:ext uri="{FF2B5EF4-FFF2-40B4-BE49-F238E27FC236}">
                  <a16:creationId xmlns:a16="http://schemas.microsoft.com/office/drawing/2014/main" id="{BA763D09-11A0-4D85-863B-908ECD43244B}"/>
                </a:ext>
              </a:extLst>
            </p:cNvPr>
            <p:cNvSpPr txBox="1"/>
            <p:nvPr/>
          </p:nvSpPr>
          <p:spPr>
            <a:xfrm>
              <a:off x="4553043" y="3453509"/>
              <a:ext cx="813203" cy="2437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转换后</a:t>
              </a:r>
              <a:r>
                <a:rPr lang="en-US" altLang="zh-CN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24</a:t>
              </a:r>
              <a:r>
                <a:rPr lang="zh-CN" alt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周</a:t>
              </a:r>
              <a:endPara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1232" name="矩形 65">
            <a:extLst>
              <a:ext uri="{FF2B5EF4-FFF2-40B4-BE49-F238E27FC236}">
                <a16:creationId xmlns:a16="http://schemas.microsoft.com/office/drawing/2014/main" id="{CBCC8FFD-BAAC-47D1-93CC-488910938BB4}"/>
              </a:ext>
            </a:extLst>
          </p:cNvPr>
          <p:cNvSpPr/>
          <p:nvPr/>
        </p:nvSpPr>
        <p:spPr>
          <a:xfrm>
            <a:off x="0" y="6199275"/>
            <a:ext cx="12192000" cy="36000"/>
          </a:xfrm>
          <a:prstGeom prst="rect">
            <a:avLst/>
          </a:prstGeom>
          <a:solidFill>
            <a:srgbClr val="EE92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234" name="TextBox 1233">
            <a:extLst>
              <a:ext uri="{FF2B5EF4-FFF2-40B4-BE49-F238E27FC236}">
                <a16:creationId xmlns:a16="http://schemas.microsoft.com/office/drawing/2014/main" id="{B0E67585-1332-4F48-AAC5-D9E8D553AD4A}"/>
              </a:ext>
            </a:extLst>
          </p:cNvPr>
          <p:cNvSpPr txBox="1"/>
          <p:nvPr/>
        </p:nvSpPr>
        <p:spPr>
          <a:xfrm>
            <a:off x="5750187" y="6274067"/>
            <a:ext cx="572098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700" dirty="0">
                <a:solidFill>
                  <a:schemeClr val="tx1"/>
                </a:solidFill>
                <a:cs typeface="+mn-ea"/>
                <a:sym typeface="+mn-lt"/>
              </a:rPr>
              <a:t>5. World Health Organization. Patient monitoring guidelines for HIV care and antiretroviral therapy (ART). 2006. </a:t>
            </a:r>
          </a:p>
          <a:p>
            <a:pPr algn="l"/>
            <a:r>
              <a:rPr lang="en-US" sz="700" dirty="0">
                <a:cs typeface="+mn-ea"/>
                <a:sym typeface="+mn-lt"/>
              </a:rPr>
              <a:t>6.</a:t>
            </a:r>
            <a:r>
              <a:rPr lang="en-US" sz="700" dirty="0">
                <a:solidFill>
                  <a:schemeClr val="tx1"/>
                </a:solidFill>
                <a:cs typeface="+mn-ea"/>
                <a:sym typeface="+mn-lt"/>
              </a:rPr>
              <a:t> Panel on Antiretroviral Guidelines for Adults and Adolescents. Guidelines for the Use of Antiretroviral Agents in Adults and Adolescents Living with HIV. Department of Health and Human Services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BA84BCAE-D8EA-464D-93DD-9E663E762B16}"/>
              </a:ext>
            </a:extLst>
          </p:cNvPr>
          <p:cNvGrpSpPr/>
          <p:nvPr/>
        </p:nvGrpSpPr>
        <p:grpSpPr>
          <a:xfrm>
            <a:off x="185930" y="1921397"/>
            <a:ext cx="6134877" cy="3864419"/>
            <a:chOff x="198731" y="2095744"/>
            <a:chExt cx="6134877" cy="3864419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403E87F-2CB4-40EC-9F19-85E879A01F98}"/>
                </a:ext>
              </a:extLst>
            </p:cNvPr>
            <p:cNvCxnSpPr>
              <a:cxnSpLocks/>
            </p:cNvCxnSpPr>
            <p:nvPr/>
          </p:nvCxnSpPr>
          <p:spPr>
            <a:xfrm>
              <a:off x="6261737" y="3074264"/>
              <a:ext cx="0" cy="2236928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173" name="文本框 41">
              <a:extLst>
                <a:ext uri="{FF2B5EF4-FFF2-40B4-BE49-F238E27FC236}">
                  <a16:creationId xmlns:a16="http://schemas.microsoft.com/office/drawing/2014/main" id="{1958DF19-E03B-403E-8B65-907F8F314ACC}"/>
                </a:ext>
              </a:extLst>
            </p:cNvPr>
            <p:cNvSpPr txBox="1"/>
            <p:nvPr/>
          </p:nvSpPr>
          <p:spPr>
            <a:xfrm>
              <a:off x="321191" y="2095744"/>
              <a:ext cx="6012417" cy="563173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zh-CN" altLang="en-US" sz="1400" dirty="0">
                  <a:cs typeface="+mn-ea"/>
                  <a:sym typeface="+mn-lt"/>
                </a:rPr>
                <a:t>研究表明</a:t>
              </a:r>
              <a:endParaRPr lang="en-US" altLang="zh-CN" sz="1400" dirty="0">
                <a:cs typeface="+mn-ea"/>
                <a:sym typeface="+mn-lt"/>
              </a:endParaRPr>
            </a:p>
            <a:p>
              <a:r>
                <a:rPr lang="zh-CN" altLang="en-US" b="1" spc="5" dirty="0">
                  <a:cs typeface="+mn-ea"/>
                  <a:sym typeface="+mn-lt"/>
                </a:rPr>
                <a:t>现目录中广泛使用的</a:t>
              </a:r>
              <a:r>
                <a:rPr lang="en-US" altLang="zh-CN" b="1" spc="5" dirty="0">
                  <a:solidFill>
                    <a:srgbClr val="EB842C"/>
                  </a:solidFill>
                  <a:cs typeface="+mn-ea"/>
                  <a:sym typeface="+mn-lt"/>
                </a:rPr>
                <a:t>INSTIs2</a:t>
              </a:r>
              <a:r>
                <a:rPr lang="zh-CN" altLang="en-US" b="1" spc="5" dirty="0">
                  <a:solidFill>
                    <a:srgbClr val="EB842C"/>
                  </a:solidFill>
                  <a:cs typeface="+mn-ea"/>
                  <a:sym typeface="+mn-lt"/>
                </a:rPr>
                <a:t>年内心血管事件发生率升高</a:t>
              </a:r>
              <a:r>
                <a:rPr lang="en-GB" altLang="zh-CN" b="1" spc="5" baseline="30000" dirty="0">
                  <a:solidFill>
                    <a:srgbClr val="EB842C"/>
                  </a:solidFill>
                  <a:cs typeface="+mn-ea"/>
                  <a:sym typeface="+mn-lt"/>
                </a:rPr>
                <a:t>3</a:t>
              </a:r>
              <a:endParaRPr lang="en-US" b="1" spc="5" baseline="30000" dirty="0">
                <a:solidFill>
                  <a:srgbClr val="EB842C"/>
                </a:solidFill>
                <a:cs typeface="+mn-ea"/>
                <a:sym typeface="+mn-lt"/>
              </a:endParaRPr>
            </a:p>
          </p:txBody>
        </p:sp>
        <p:sp>
          <p:nvSpPr>
            <p:cNvPr id="1178" name="文本框 9">
              <a:extLst>
                <a:ext uri="{FF2B5EF4-FFF2-40B4-BE49-F238E27FC236}">
                  <a16:creationId xmlns:a16="http://schemas.microsoft.com/office/drawing/2014/main" id="{88F97BAC-2740-4490-9AE9-9BBD1932A4E2}"/>
                </a:ext>
              </a:extLst>
            </p:cNvPr>
            <p:cNvSpPr txBox="1"/>
            <p:nvPr/>
          </p:nvSpPr>
          <p:spPr>
            <a:xfrm flipH="1">
              <a:off x="2497440" y="3049597"/>
              <a:ext cx="352707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500" dirty="0">
                  <a:latin typeface="+mn-ea"/>
                  <a:cs typeface="+mn-ea"/>
                  <a:sym typeface="+mn-lt"/>
                </a:rPr>
                <a:t>相较未曾使用</a:t>
              </a:r>
              <a:r>
                <a:rPr lang="en-US" altLang="zh-CN" sz="1500" dirty="0">
                  <a:latin typeface="+mn-ea"/>
                  <a:cs typeface="+mn-ea"/>
                  <a:sym typeface="+mn-lt"/>
                </a:rPr>
                <a:t>INSTI</a:t>
              </a:r>
              <a:r>
                <a:rPr lang="zh-CN" altLang="en-US" sz="1500" dirty="0">
                  <a:latin typeface="+mn-ea"/>
                  <a:cs typeface="+mn-ea"/>
                  <a:sym typeface="+mn-lt"/>
                </a:rPr>
                <a:t>的患者，使用</a:t>
              </a:r>
              <a:r>
                <a:rPr lang="en-US" altLang="zh-CN" sz="1500" dirty="0">
                  <a:latin typeface="+mn-ea"/>
                  <a:cs typeface="+mn-ea"/>
                  <a:sym typeface="+mn-lt"/>
                </a:rPr>
                <a:t>INSTI</a:t>
              </a:r>
              <a:r>
                <a:rPr lang="zh-CN" altLang="en-US" sz="1500" dirty="0">
                  <a:latin typeface="+mn-ea"/>
                  <a:cs typeface="+mn-ea"/>
                  <a:sym typeface="+mn-lt"/>
                </a:rPr>
                <a:t>的患者</a:t>
              </a:r>
              <a:r>
                <a:rPr lang="en-US" altLang="zh-CN" sz="1500" dirty="0">
                  <a:latin typeface="+mn-ea"/>
                  <a:cs typeface="+mn-ea"/>
                  <a:sym typeface="+mn-lt"/>
                </a:rPr>
                <a:t>0-6</a:t>
              </a:r>
              <a:r>
                <a:rPr lang="zh-CN" altLang="en-US" sz="1500" dirty="0">
                  <a:latin typeface="+mn-ea"/>
                  <a:cs typeface="+mn-ea"/>
                  <a:sym typeface="+mn-lt"/>
                </a:rPr>
                <a:t>个月心血管事件发生率</a:t>
              </a:r>
              <a:endParaRPr lang="en-US" sz="1500" dirty="0">
                <a:latin typeface="+mn-ea"/>
                <a:cs typeface="+mn-ea"/>
                <a:sym typeface="+mn-lt"/>
              </a:endParaRP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9FCB2F35-D688-403B-A280-6A6B78331AD9}"/>
                </a:ext>
              </a:extLst>
            </p:cNvPr>
            <p:cNvGrpSpPr/>
            <p:nvPr/>
          </p:nvGrpSpPr>
          <p:grpSpPr>
            <a:xfrm>
              <a:off x="225747" y="3009594"/>
              <a:ext cx="2941607" cy="683187"/>
              <a:chOff x="-46095" y="5913393"/>
              <a:chExt cx="2941607" cy="683187"/>
            </a:xfrm>
          </p:grpSpPr>
          <p:sp>
            <p:nvSpPr>
              <p:cNvPr id="1177" name="文本框 41">
                <a:extLst>
                  <a:ext uri="{FF2B5EF4-FFF2-40B4-BE49-F238E27FC236}">
                    <a16:creationId xmlns:a16="http://schemas.microsoft.com/office/drawing/2014/main" id="{32B0A39C-0278-4C50-98E7-7748AE155D15}"/>
                  </a:ext>
                </a:extLst>
              </p:cNvPr>
              <p:cNvSpPr txBox="1"/>
              <p:nvPr/>
            </p:nvSpPr>
            <p:spPr>
              <a:xfrm>
                <a:off x="-46095" y="6064439"/>
                <a:ext cx="2941607" cy="399222"/>
              </a:xfrm>
              <a:prstGeom prst="rect">
                <a:avLst/>
              </a:prstGeom>
              <a:noFill/>
            </p:spPr>
            <p:txBody>
              <a:bodyPr wrap="square" rtlCol="0" anchor="ctr">
                <a:noAutofit/>
              </a:bodyPr>
              <a:lstStyle/>
              <a:p>
                <a:pPr algn="ctr"/>
                <a:r>
                  <a:rPr lang="en-GB" altLang="zh-CN" sz="4000" b="1" dirty="0">
                    <a:solidFill>
                      <a:srgbClr val="EE9234"/>
                    </a:solidFill>
                    <a:cs typeface="+mn-ea"/>
                    <a:sym typeface="+mn-lt"/>
                  </a:rPr>
                  <a:t>1.85</a:t>
                </a:r>
                <a:endParaRPr lang="en-GB" altLang="zh-CN" sz="3600" b="1" dirty="0">
                  <a:solidFill>
                    <a:srgbClr val="EE9234"/>
                  </a:solidFill>
                  <a:cs typeface="+mn-ea"/>
                  <a:sym typeface="+mn-lt"/>
                </a:endParaRPr>
              </a:p>
              <a:p>
                <a:pPr algn="ctr"/>
                <a:r>
                  <a:rPr lang="en-GB" altLang="zh-CN" sz="1600" dirty="0">
                    <a:cs typeface="+mn-ea"/>
                    <a:sym typeface="+mn-lt"/>
                  </a:rPr>
                  <a:t>[1.44-2.39]</a:t>
                </a:r>
              </a:p>
            </p:txBody>
          </p:sp>
          <p:sp>
            <p:nvSpPr>
              <p:cNvPr id="34" name="Arrow: Up 33">
                <a:extLst>
                  <a:ext uri="{FF2B5EF4-FFF2-40B4-BE49-F238E27FC236}">
                    <a16:creationId xmlns:a16="http://schemas.microsoft.com/office/drawing/2014/main" id="{135A4A70-08E0-40CE-BB59-CA2F75413963}"/>
                  </a:ext>
                </a:extLst>
              </p:cNvPr>
              <p:cNvSpPr/>
              <p:nvPr/>
            </p:nvSpPr>
            <p:spPr>
              <a:xfrm>
                <a:off x="334931" y="5913393"/>
                <a:ext cx="535400" cy="683187"/>
              </a:xfrm>
              <a:prstGeom prst="upArrow">
                <a:avLst/>
              </a:prstGeom>
              <a:solidFill>
                <a:srgbClr val="EB842C"/>
              </a:solidFill>
              <a:ln w="28575">
                <a:solidFill>
                  <a:srgbClr val="EB842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72" name="文本框 42">
              <a:extLst>
                <a:ext uri="{FF2B5EF4-FFF2-40B4-BE49-F238E27FC236}">
                  <a16:creationId xmlns:a16="http://schemas.microsoft.com/office/drawing/2014/main" id="{CAA5C037-8C2C-439D-8E01-9A21D8E3628D}"/>
                </a:ext>
              </a:extLst>
            </p:cNvPr>
            <p:cNvSpPr txBox="1"/>
            <p:nvPr/>
          </p:nvSpPr>
          <p:spPr>
            <a:xfrm>
              <a:off x="198731" y="4378396"/>
              <a:ext cx="58611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2000" b="1" spc="5">
                  <a:solidFill>
                    <a:srgbClr val="EA6B14"/>
                  </a:solidFill>
                  <a:cs typeface="+mn-ea"/>
                </a:defRPr>
              </a:lvl1pPr>
            </a:lstStyle>
            <a:p>
              <a:r>
                <a:rPr lang="zh-CN" altLang="en-US" sz="1600" b="0" dirty="0">
                  <a:solidFill>
                    <a:schemeClr val="tx1"/>
                  </a:solidFill>
                  <a:sym typeface="+mn-lt"/>
                </a:rPr>
                <a:t>   </a:t>
              </a:r>
              <a:r>
                <a:rPr lang="zh-CN" altLang="en-US" sz="1800" dirty="0">
                  <a:solidFill>
                    <a:schemeClr val="tx1"/>
                  </a:solidFill>
                  <a:sym typeface="+mn-lt"/>
                </a:rPr>
                <a:t>权威指南将</a:t>
              </a:r>
              <a:r>
                <a:rPr lang="zh-CN" altLang="en-US" sz="1800" dirty="0">
                  <a:solidFill>
                    <a:srgbClr val="EB842C"/>
                  </a:solidFill>
                  <a:sym typeface="+mn-lt"/>
                </a:rPr>
                <a:t>体重增加</a:t>
              </a:r>
              <a:r>
                <a:rPr lang="zh-CN" altLang="en-US" sz="1800" dirty="0">
                  <a:solidFill>
                    <a:schemeClr val="tx1"/>
                  </a:solidFill>
                  <a:sym typeface="+mn-lt"/>
                </a:rPr>
                <a:t>列为</a:t>
              </a:r>
              <a:r>
                <a:rPr lang="zh-CN" altLang="en-US" sz="1800" dirty="0">
                  <a:solidFill>
                    <a:srgbClr val="EB842C"/>
                  </a:solidFill>
                  <a:sym typeface="+mn-lt"/>
                </a:rPr>
                <a:t>整合酶</a:t>
              </a:r>
              <a:r>
                <a:rPr lang="zh-CN" altLang="en-US" sz="1800" dirty="0">
                  <a:solidFill>
                    <a:schemeClr val="tx1"/>
                  </a:solidFill>
                  <a:sym typeface="+mn-lt"/>
                </a:rPr>
                <a:t>的不良反应</a:t>
              </a:r>
              <a:r>
                <a:rPr lang="en-GB" altLang="zh-CN" sz="1800" b="0" baseline="30000" dirty="0">
                  <a:solidFill>
                    <a:srgbClr val="EB842C"/>
                  </a:solidFill>
                  <a:sym typeface="+mn-lt"/>
                </a:rPr>
                <a:t>4,5</a:t>
              </a:r>
              <a:r>
                <a:rPr lang="en-US" altLang="zh-CN" sz="1800" b="0" baseline="30000" dirty="0">
                  <a:solidFill>
                    <a:srgbClr val="EB842C"/>
                  </a:solidFill>
                  <a:sym typeface="+mn-lt"/>
                </a:rPr>
                <a:t>,6</a:t>
              </a:r>
              <a:endParaRPr lang="en-US" sz="1800" b="0" baseline="30000" dirty="0">
                <a:solidFill>
                  <a:srgbClr val="EB842C"/>
                </a:solidFill>
                <a:sym typeface="+mn-lt"/>
              </a:endParaRPr>
            </a:p>
          </p:txBody>
        </p:sp>
        <p:grpSp>
          <p:nvGrpSpPr>
            <p:cNvPr id="73" name="Group 1229">
              <a:extLst>
                <a:ext uri="{FF2B5EF4-FFF2-40B4-BE49-F238E27FC236}">
                  <a16:creationId xmlns:a16="http://schemas.microsoft.com/office/drawing/2014/main" id="{D43DEA1A-66F4-45F0-B8CC-A96C1FE6F758}"/>
                </a:ext>
              </a:extLst>
            </p:cNvPr>
            <p:cNvGrpSpPr/>
            <p:nvPr/>
          </p:nvGrpSpPr>
          <p:grpSpPr>
            <a:xfrm>
              <a:off x="380259" y="4885401"/>
              <a:ext cx="1769044" cy="918234"/>
              <a:chOff x="8056821" y="5314773"/>
              <a:chExt cx="1769044" cy="918234"/>
            </a:xfrm>
            <a:noFill/>
          </p:grpSpPr>
          <p:pic>
            <p:nvPicPr>
              <p:cNvPr id="74" name="Picture 1217">
                <a:extLst>
                  <a:ext uri="{FF2B5EF4-FFF2-40B4-BE49-F238E27FC236}">
                    <a16:creationId xmlns:a16="http://schemas.microsoft.com/office/drawing/2014/main" id="{B7A8A570-AD2C-4D71-990C-B9CFE5BA092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230" b="25316"/>
              <a:stretch/>
            </p:blipFill>
            <p:spPr>
              <a:xfrm>
                <a:off x="8056821" y="5314773"/>
                <a:ext cx="1712468" cy="360000"/>
              </a:xfrm>
              <a:prstGeom prst="rect">
                <a:avLst/>
              </a:prstGeom>
              <a:grpFill/>
            </p:spPr>
          </p:pic>
          <p:sp>
            <p:nvSpPr>
              <p:cNvPr id="75" name="TextBox 1220">
                <a:extLst>
                  <a:ext uri="{FF2B5EF4-FFF2-40B4-BE49-F238E27FC236}">
                    <a16:creationId xmlns:a16="http://schemas.microsoft.com/office/drawing/2014/main" id="{2BF97B46-FFD0-4EC9-A702-630F613CD9AF}"/>
                  </a:ext>
                </a:extLst>
              </p:cNvPr>
              <p:cNvSpPr txBox="1"/>
              <p:nvPr/>
            </p:nvSpPr>
            <p:spPr>
              <a:xfrm>
                <a:off x="8113397" y="5740564"/>
                <a:ext cx="1712468" cy="492443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lvl="1"/>
                <a:r>
                  <a:rPr lang="zh-CN" altLang="en-US" sz="1300" dirty="0">
                    <a:cs typeface="+mn-ea"/>
                    <a:sym typeface="+mn-lt"/>
                  </a:rPr>
                  <a:t>体重增加是</a:t>
                </a:r>
                <a:r>
                  <a:rPr lang="en-US" altLang="zh-CN" sz="1300" dirty="0">
                    <a:cs typeface="+mn-ea"/>
                    <a:sym typeface="+mn-lt"/>
                  </a:rPr>
                  <a:t>INSTIs</a:t>
                </a:r>
                <a:r>
                  <a:rPr lang="zh-CN" altLang="en-US" sz="1300" dirty="0">
                    <a:cs typeface="+mn-ea"/>
                    <a:sym typeface="+mn-lt"/>
                  </a:rPr>
                  <a:t>的</a:t>
                </a:r>
                <a:r>
                  <a:rPr lang="zh-CN" altLang="en-US" sz="1300" b="1" dirty="0">
                    <a:solidFill>
                      <a:srgbClr val="EB842C"/>
                    </a:solidFill>
                    <a:cs typeface="+mn-ea"/>
                    <a:sym typeface="+mn-lt"/>
                  </a:rPr>
                  <a:t>代谢类不良反应</a:t>
                </a:r>
                <a:r>
                  <a:rPr lang="en-GB" altLang="zh-CN" sz="1300" baseline="30000" dirty="0">
                    <a:cs typeface="+mn-ea"/>
                    <a:sym typeface="+mn-lt"/>
                  </a:rPr>
                  <a:t>3</a:t>
                </a:r>
                <a:endParaRPr lang="en-US" sz="13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76" name="Group 1230">
              <a:extLst>
                <a:ext uri="{FF2B5EF4-FFF2-40B4-BE49-F238E27FC236}">
                  <a16:creationId xmlns:a16="http://schemas.microsoft.com/office/drawing/2014/main" id="{18C5BC4A-6041-46C6-9AFA-16AF81826474}"/>
                </a:ext>
              </a:extLst>
            </p:cNvPr>
            <p:cNvGrpSpPr/>
            <p:nvPr/>
          </p:nvGrpSpPr>
          <p:grpSpPr>
            <a:xfrm>
              <a:off x="2254604" y="4881883"/>
              <a:ext cx="1937403" cy="1078280"/>
              <a:chOff x="5931374" y="5314773"/>
              <a:chExt cx="1937403" cy="1078280"/>
            </a:xfrm>
          </p:grpSpPr>
          <p:pic>
            <p:nvPicPr>
              <p:cNvPr id="77" name="Picture 1218" descr="Logo, company name&#10;&#10;Description automatically generated">
                <a:extLst>
                  <a:ext uri="{FF2B5EF4-FFF2-40B4-BE49-F238E27FC236}">
                    <a16:creationId xmlns:a16="http://schemas.microsoft.com/office/drawing/2014/main" id="{11E98B2D-7952-412D-AA7A-485A7A1E32F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8080" b="22252"/>
              <a:stretch/>
            </p:blipFill>
            <p:spPr>
              <a:xfrm>
                <a:off x="6217920" y="5314773"/>
                <a:ext cx="1300145" cy="360000"/>
              </a:xfrm>
              <a:prstGeom prst="rect">
                <a:avLst/>
              </a:prstGeom>
            </p:spPr>
          </p:pic>
          <p:sp>
            <p:nvSpPr>
              <p:cNvPr id="78" name="TextBox 1223">
                <a:extLst>
                  <a:ext uri="{FF2B5EF4-FFF2-40B4-BE49-F238E27FC236}">
                    <a16:creationId xmlns:a16="http://schemas.microsoft.com/office/drawing/2014/main" id="{3734C87D-A277-4703-9DCE-BFBBFC86D8B2}"/>
                  </a:ext>
                </a:extLst>
              </p:cNvPr>
              <p:cNvSpPr txBox="1"/>
              <p:nvPr/>
            </p:nvSpPr>
            <p:spPr>
              <a:xfrm>
                <a:off x="5931374" y="5700556"/>
                <a:ext cx="1937403" cy="6924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lvl="2"/>
                <a:r>
                  <a:rPr lang="zh-CN" altLang="en-US" sz="1300" dirty="0">
                    <a:cs typeface="+mn-ea"/>
                    <a:sym typeface="+mn-lt"/>
                  </a:rPr>
                  <a:t>使用含有</a:t>
                </a:r>
                <a:r>
                  <a:rPr lang="en-US" altLang="zh-CN" sz="1300" dirty="0">
                    <a:cs typeface="+mn-ea"/>
                    <a:sym typeface="+mn-lt"/>
                  </a:rPr>
                  <a:t>DTG</a:t>
                </a:r>
                <a:r>
                  <a:rPr lang="zh-CN" altLang="en-US" sz="1300" dirty="0">
                    <a:cs typeface="+mn-ea"/>
                    <a:sym typeface="+mn-lt"/>
                  </a:rPr>
                  <a:t>的方案的患者在</a:t>
                </a:r>
                <a:r>
                  <a:rPr lang="en-US" altLang="zh-CN" sz="1300" dirty="0">
                    <a:cs typeface="+mn-ea"/>
                    <a:sym typeface="+mn-lt"/>
                  </a:rPr>
                  <a:t>48</a:t>
                </a:r>
                <a:r>
                  <a:rPr lang="zh-CN" altLang="en-US" sz="1300" dirty="0">
                    <a:cs typeface="+mn-ea"/>
                    <a:sym typeface="+mn-lt"/>
                  </a:rPr>
                  <a:t>周时可能绝对体重增加</a:t>
                </a:r>
                <a:r>
                  <a:rPr lang="en-US" altLang="zh-CN" sz="1300" b="1" dirty="0">
                    <a:solidFill>
                      <a:srgbClr val="EB842C"/>
                    </a:solidFill>
                    <a:cs typeface="+mn-ea"/>
                    <a:sym typeface="+mn-lt"/>
                  </a:rPr>
                  <a:t>3-5kg</a:t>
                </a:r>
                <a:r>
                  <a:rPr lang="en-US" altLang="zh-CN" sz="1300" baseline="30000" dirty="0">
                    <a:cs typeface="+mn-ea"/>
                    <a:sym typeface="+mn-lt"/>
                  </a:rPr>
                  <a:t>4</a:t>
                </a:r>
                <a:r>
                  <a:rPr lang="zh-CN" altLang="en-US" sz="1300" dirty="0">
                    <a:cs typeface="+mn-ea"/>
                    <a:sym typeface="+mn-lt"/>
                  </a:rPr>
                  <a:t>。</a:t>
                </a:r>
                <a:endParaRPr lang="en-GB" altLang="zh-CN" sz="13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79" name="Group 1228">
              <a:extLst>
                <a:ext uri="{FF2B5EF4-FFF2-40B4-BE49-F238E27FC236}">
                  <a16:creationId xmlns:a16="http://schemas.microsoft.com/office/drawing/2014/main" id="{10A14D37-BDA1-4167-BCC6-09DAE5023F48}"/>
                </a:ext>
              </a:extLst>
            </p:cNvPr>
            <p:cNvGrpSpPr/>
            <p:nvPr/>
          </p:nvGrpSpPr>
          <p:grpSpPr>
            <a:xfrm>
              <a:off x="4275613" y="4919354"/>
              <a:ext cx="1899107" cy="1040044"/>
              <a:chOff x="10086054" y="5429721"/>
              <a:chExt cx="1899107" cy="1040044"/>
            </a:xfrm>
          </p:grpSpPr>
          <p:pic>
            <p:nvPicPr>
              <p:cNvPr id="80" name="Picture 1216">
                <a:extLst>
                  <a:ext uri="{FF2B5EF4-FFF2-40B4-BE49-F238E27FC236}">
                    <a16:creationId xmlns:a16="http://schemas.microsoft.com/office/drawing/2014/main" id="{929BB624-48FF-4036-B767-55D463A34E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grayscl/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395481" y="5429721"/>
                <a:ext cx="1108064" cy="268896"/>
              </a:xfrm>
              <a:prstGeom prst="rect">
                <a:avLst/>
              </a:prstGeom>
            </p:spPr>
          </p:pic>
          <p:sp>
            <p:nvSpPr>
              <p:cNvPr id="81" name="TextBox 1225">
                <a:extLst>
                  <a:ext uri="{FF2B5EF4-FFF2-40B4-BE49-F238E27FC236}">
                    <a16:creationId xmlns:a16="http://schemas.microsoft.com/office/drawing/2014/main" id="{03B71F4C-60AC-4885-ABC8-AC24749762B5}"/>
                  </a:ext>
                </a:extLst>
              </p:cNvPr>
              <p:cNvSpPr txBox="1"/>
              <p:nvPr/>
            </p:nvSpPr>
            <p:spPr>
              <a:xfrm>
                <a:off x="10086054" y="5777268"/>
                <a:ext cx="1899107" cy="6924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lvl="1"/>
                <a:r>
                  <a:rPr lang="zh-CN" altLang="en-US" sz="1300" dirty="0">
                    <a:cs typeface="+mn-ea"/>
                    <a:sym typeface="+mn-lt"/>
                  </a:rPr>
                  <a:t>含有</a:t>
                </a:r>
                <a:r>
                  <a:rPr lang="en-US" altLang="zh-CN" sz="1300" dirty="0">
                    <a:cs typeface="+mn-ea"/>
                    <a:sym typeface="+mn-lt"/>
                  </a:rPr>
                  <a:t>INSTI</a:t>
                </a:r>
                <a:r>
                  <a:rPr lang="zh-CN" altLang="en-US" sz="1300" dirty="0">
                    <a:cs typeface="+mn-ea"/>
                    <a:sym typeface="+mn-lt"/>
                  </a:rPr>
                  <a:t>方案与其他</a:t>
                </a:r>
                <a:r>
                  <a:rPr lang="en-US" altLang="zh-CN" sz="1300" dirty="0">
                    <a:cs typeface="+mn-ea"/>
                    <a:sym typeface="+mn-lt"/>
                  </a:rPr>
                  <a:t>ARV</a:t>
                </a:r>
                <a:r>
                  <a:rPr lang="zh-CN" altLang="en-US" sz="1300" dirty="0">
                    <a:cs typeface="+mn-ea"/>
                    <a:sym typeface="+mn-lt"/>
                  </a:rPr>
                  <a:t>相比，患者的</a:t>
                </a:r>
                <a:r>
                  <a:rPr lang="zh-CN" altLang="en-US" sz="1300" b="1" dirty="0">
                    <a:solidFill>
                      <a:srgbClr val="EB842C"/>
                    </a:solidFill>
                    <a:cs typeface="+mn-ea"/>
                    <a:sym typeface="+mn-lt"/>
                  </a:rPr>
                  <a:t>体重增加更</a:t>
                </a:r>
                <a:r>
                  <a:rPr lang="zh-CN" altLang="en-US" sz="1300" dirty="0">
                    <a:solidFill>
                      <a:srgbClr val="EB842C"/>
                    </a:solidFill>
                    <a:cs typeface="+mn-ea"/>
                    <a:sym typeface="+mn-lt"/>
                  </a:rPr>
                  <a:t>多</a:t>
                </a:r>
                <a:r>
                  <a:rPr lang="en-GB" altLang="zh-CN" sz="1300" baseline="30000" dirty="0">
                    <a:cs typeface="+mn-ea"/>
                    <a:sym typeface="+mn-lt"/>
                  </a:rPr>
                  <a:t>5</a:t>
                </a:r>
                <a:r>
                  <a:rPr lang="zh-CN" altLang="en-US" sz="1300" dirty="0">
                    <a:cs typeface="+mn-ea"/>
                    <a:sym typeface="+mn-lt"/>
                  </a:rPr>
                  <a:t>。</a:t>
                </a:r>
                <a:endParaRPr lang="en-GB" altLang="zh-CN" sz="1300" dirty="0">
                  <a:cs typeface="+mn-ea"/>
                  <a:sym typeface="+mn-lt"/>
                </a:endParaRPr>
              </a:p>
            </p:txBody>
          </p:sp>
        </p:grpSp>
      </p:grpSp>
      <p:sp>
        <p:nvSpPr>
          <p:cNvPr id="5" name="等腰三角形 4">
            <a:extLst>
              <a:ext uri="{FF2B5EF4-FFF2-40B4-BE49-F238E27FC236}">
                <a16:creationId xmlns:a16="http://schemas.microsoft.com/office/drawing/2014/main" id="{9011A651-5E71-4733-8887-AC854B3D4774}"/>
              </a:ext>
            </a:extLst>
          </p:cNvPr>
          <p:cNvSpPr/>
          <p:nvPr/>
        </p:nvSpPr>
        <p:spPr>
          <a:xfrm rot="5400000">
            <a:off x="6171246" y="3887049"/>
            <a:ext cx="336884" cy="181503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FFB87C25-95C1-420E-8864-C4AD8AFC18A5}"/>
              </a:ext>
            </a:extLst>
          </p:cNvPr>
          <p:cNvSpPr txBox="1"/>
          <p:nvPr/>
        </p:nvSpPr>
        <p:spPr>
          <a:xfrm>
            <a:off x="6339688" y="2138570"/>
            <a:ext cx="60939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1" i="0" u="none" strike="noStrike" baseline="0" dirty="0">
                <a:solidFill>
                  <a:srgbClr val="00857C"/>
                </a:solidFill>
                <a:latin typeface="SourceHanSansCN-Bold"/>
              </a:rPr>
              <a:t>血脂异常</a:t>
            </a:r>
            <a:r>
              <a:rPr lang="zh-CN" altLang="en-US" sz="1800" b="1" i="0" u="none" strike="noStrike" baseline="0" dirty="0">
                <a:latin typeface="SourceHanSansCN-Bold"/>
              </a:rPr>
              <a:t>与</a:t>
            </a:r>
            <a:r>
              <a:rPr lang="zh-CN" altLang="en-US" sz="1800" b="1" i="0" u="none" strike="noStrike" baseline="0" dirty="0">
                <a:solidFill>
                  <a:srgbClr val="00857C"/>
                </a:solidFill>
                <a:latin typeface="SourceHanSansCN-Bold"/>
              </a:rPr>
              <a:t>超重</a:t>
            </a:r>
            <a:r>
              <a:rPr lang="zh-CN" altLang="en-US" sz="1800" b="1" i="0" u="none" strike="noStrike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ourceHanSansCN-Bold"/>
              </a:rPr>
              <a:t>是</a:t>
            </a:r>
            <a:r>
              <a:rPr lang="en-US" altLang="zh-CN" sz="1800" b="1" i="0" u="none" strike="noStrike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ourceHanSansCN-Bold"/>
              </a:rPr>
              <a:t>HIV</a:t>
            </a:r>
            <a:r>
              <a:rPr lang="zh-CN" altLang="en-US" sz="1800" b="1" i="0" u="none" strike="noStrike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ourceHanSansCN-Bold"/>
              </a:rPr>
              <a:t>感染者重要的</a:t>
            </a:r>
            <a:r>
              <a:rPr lang="zh-CN" altLang="en-US" sz="1800" b="1" i="0" u="none" strike="noStrike" baseline="0" dirty="0">
                <a:solidFill>
                  <a:srgbClr val="00857C"/>
                </a:solidFill>
                <a:latin typeface="SourceHanSansCN-Bold"/>
              </a:rPr>
              <a:t>心血管疾病危险因素</a:t>
            </a:r>
            <a:r>
              <a:rPr lang="en-US" altLang="zh-CN" sz="1800" b="1" i="0" u="none" strike="noStrike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HanSansCN-Bold"/>
              </a:rPr>
              <a:t>1</a:t>
            </a:r>
            <a:endParaRPr lang="zh-CN" altLang="en-US" baseline="30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0" name="灯片编号占位符 1">
            <a:extLst>
              <a:ext uri="{FF2B5EF4-FFF2-40B4-BE49-F238E27FC236}">
                <a16:creationId xmlns:a16="http://schemas.microsoft.com/office/drawing/2014/main" id="{24D4A88B-D9C6-4A35-A0AE-16E7F8CA8685}"/>
              </a:ext>
            </a:extLst>
          </p:cNvPr>
          <p:cNvSpPr txBox="1">
            <a:spLocks/>
          </p:cNvSpPr>
          <p:nvPr/>
        </p:nvSpPr>
        <p:spPr>
          <a:xfrm>
            <a:off x="11556053" y="6412784"/>
            <a:ext cx="522414" cy="30997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8</a:t>
            </a:r>
          </a:p>
        </p:txBody>
      </p:sp>
      <p:sp>
        <p:nvSpPr>
          <p:cNvPr id="42" name="标题 1">
            <a:extLst>
              <a:ext uri="{FF2B5EF4-FFF2-40B4-BE49-F238E27FC236}">
                <a16:creationId xmlns:a16="http://schemas.microsoft.com/office/drawing/2014/main" id="{9B7EDD3E-519B-4E6B-9B09-C5CD42529B78}"/>
              </a:ext>
            </a:extLst>
          </p:cNvPr>
          <p:cNvSpPr txBox="1">
            <a:spLocks/>
          </p:cNvSpPr>
          <p:nvPr/>
        </p:nvSpPr>
        <p:spPr>
          <a:xfrm>
            <a:off x="373569" y="423688"/>
            <a:ext cx="10067925" cy="850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50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创新性</a:t>
            </a:r>
            <a:endParaRPr lang="zh-CN" altLang="en-US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3953523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5A935C5D-9FBF-415A-A017-BEBE5AA0FE47}"/>
              </a:ext>
            </a:extLst>
          </p:cNvPr>
          <p:cNvCxnSpPr>
            <a:cxnSpLocks/>
          </p:cNvCxnSpPr>
          <p:nvPr/>
        </p:nvCxnSpPr>
        <p:spPr>
          <a:xfrm>
            <a:off x="0" y="3541982"/>
            <a:ext cx="4151509" cy="0"/>
          </a:xfrm>
          <a:prstGeom prst="line">
            <a:avLst/>
          </a:prstGeom>
          <a:ln w="3175">
            <a:solidFill>
              <a:schemeClr val="accent1"/>
            </a:solidFill>
            <a:headEnd type="none" w="med" len="med"/>
            <a:tailEnd type="oval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8BCC7605-1112-4BD6-96C0-41F7CE62DAEE}"/>
              </a:ext>
            </a:extLst>
          </p:cNvPr>
          <p:cNvCxnSpPr>
            <a:cxnSpLocks/>
          </p:cNvCxnSpPr>
          <p:nvPr/>
        </p:nvCxnSpPr>
        <p:spPr>
          <a:xfrm>
            <a:off x="6452624" y="1224837"/>
            <a:ext cx="1" cy="962803"/>
          </a:xfrm>
          <a:prstGeom prst="line">
            <a:avLst/>
          </a:prstGeom>
          <a:ln w="3175">
            <a:solidFill>
              <a:schemeClr val="accent1"/>
            </a:solidFill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6444B7E4-CEC8-460A-8119-D547097DA3EE}"/>
              </a:ext>
            </a:extLst>
          </p:cNvPr>
          <p:cNvCxnSpPr>
            <a:cxnSpLocks/>
          </p:cNvCxnSpPr>
          <p:nvPr/>
        </p:nvCxnSpPr>
        <p:spPr>
          <a:xfrm>
            <a:off x="7913091" y="4213211"/>
            <a:ext cx="4278909" cy="0"/>
          </a:xfrm>
          <a:prstGeom prst="line">
            <a:avLst/>
          </a:prstGeom>
          <a:ln w="3175">
            <a:solidFill>
              <a:schemeClr val="accent1"/>
            </a:solidFill>
            <a:head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EE36A942-4CE4-4571-B99E-E1873B402E48}"/>
              </a:ext>
            </a:extLst>
          </p:cNvPr>
          <p:cNvCxnSpPr>
            <a:cxnSpLocks/>
          </p:cNvCxnSpPr>
          <p:nvPr/>
        </p:nvCxnSpPr>
        <p:spPr>
          <a:xfrm>
            <a:off x="5663351" y="5601507"/>
            <a:ext cx="0" cy="897522"/>
          </a:xfrm>
          <a:prstGeom prst="line">
            <a:avLst/>
          </a:prstGeom>
          <a:ln w="3175">
            <a:solidFill>
              <a:schemeClr val="accent1"/>
            </a:solidFill>
            <a:head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ABCE91F3-D7FE-40CF-9EC1-F78791312E6D}"/>
              </a:ext>
            </a:extLst>
          </p:cNvPr>
          <p:cNvSpPr/>
          <p:nvPr/>
        </p:nvSpPr>
        <p:spPr>
          <a:xfrm>
            <a:off x="193722" y="1465146"/>
            <a:ext cx="5804034" cy="1612654"/>
          </a:xfrm>
          <a:custGeom>
            <a:avLst/>
            <a:gdLst>
              <a:gd name="connsiteX0" fmla="*/ 0 w 1652100"/>
              <a:gd name="connsiteY0" fmla="*/ 107019 h 1070186"/>
              <a:gd name="connsiteX1" fmla="*/ 107019 w 1652100"/>
              <a:gd name="connsiteY1" fmla="*/ 0 h 1070186"/>
              <a:gd name="connsiteX2" fmla="*/ 1545081 w 1652100"/>
              <a:gd name="connsiteY2" fmla="*/ 0 h 1070186"/>
              <a:gd name="connsiteX3" fmla="*/ 1652100 w 1652100"/>
              <a:gd name="connsiteY3" fmla="*/ 107019 h 1070186"/>
              <a:gd name="connsiteX4" fmla="*/ 1652100 w 1652100"/>
              <a:gd name="connsiteY4" fmla="*/ 963167 h 1070186"/>
              <a:gd name="connsiteX5" fmla="*/ 1545081 w 1652100"/>
              <a:gd name="connsiteY5" fmla="*/ 1070186 h 1070186"/>
              <a:gd name="connsiteX6" fmla="*/ 107019 w 1652100"/>
              <a:gd name="connsiteY6" fmla="*/ 1070186 h 1070186"/>
              <a:gd name="connsiteX7" fmla="*/ 0 w 1652100"/>
              <a:gd name="connsiteY7" fmla="*/ 963167 h 1070186"/>
              <a:gd name="connsiteX8" fmla="*/ 0 w 1652100"/>
              <a:gd name="connsiteY8" fmla="*/ 107019 h 1070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100" h="1070186">
                <a:moveTo>
                  <a:pt x="0" y="107019"/>
                </a:moveTo>
                <a:cubicBezTo>
                  <a:pt x="0" y="47914"/>
                  <a:pt x="47914" y="0"/>
                  <a:pt x="107019" y="0"/>
                </a:cubicBezTo>
                <a:lnTo>
                  <a:pt x="1545081" y="0"/>
                </a:lnTo>
                <a:cubicBezTo>
                  <a:pt x="1604186" y="0"/>
                  <a:pt x="1652100" y="47914"/>
                  <a:pt x="1652100" y="107019"/>
                </a:cubicBezTo>
                <a:lnTo>
                  <a:pt x="1652100" y="963167"/>
                </a:lnTo>
                <a:cubicBezTo>
                  <a:pt x="1652100" y="1022272"/>
                  <a:pt x="1604186" y="1070186"/>
                  <a:pt x="1545081" y="1070186"/>
                </a:cubicBezTo>
                <a:lnTo>
                  <a:pt x="107019" y="1070186"/>
                </a:lnTo>
                <a:cubicBezTo>
                  <a:pt x="47914" y="1070186"/>
                  <a:pt x="0" y="1022272"/>
                  <a:pt x="0" y="963167"/>
                </a:cubicBezTo>
                <a:lnTo>
                  <a:pt x="0" y="107019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0188" tIns="130188" rIns="625818" bIns="397735" numCol="1" spcCol="1270" anchor="t" anchorCtr="0">
            <a:no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cs typeface="+mn-ea"/>
                <a:sym typeface="+mn-lt"/>
              </a:rPr>
              <a:t>我国报告现存艾滋病感染者约</a:t>
            </a:r>
            <a:r>
              <a:rPr lang="en-US" sz="1600" b="1" dirty="0">
                <a:solidFill>
                  <a:srgbClr val="EB842C"/>
                </a:solidFill>
                <a:cs typeface="+mn-ea"/>
                <a:sym typeface="+mn-lt"/>
              </a:rPr>
              <a:t>105</a:t>
            </a:r>
            <a:r>
              <a:rPr lang="en-US" sz="1400" b="1" dirty="0">
                <a:solidFill>
                  <a:schemeClr val="accent1"/>
                </a:solidFill>
                <a:cs typeface="+mn-ea"/>
                <a:sym typeface="+mn-lt"/>
              </a:rPr>
              <a:t>万例</a:t>
            </a:r>
            <a:r>
              <a:rPr lang="en-US" sz="1200" baseline="70000" dirty="0">
                <a:solidFill>
                  <a:schemeClr val="tx1"/>
                </a:solidFill>
                <a:cs typeface="+mn-ea"/>
                <a:sym typeface="+mn-lt"/>
              </a:rPr>
              <a:t>1</a:t>
            </a:r>
            <a:r>
              <a:rPr lang="en-US" sz="1400" dirty="0">
                <a:solidFill>
                  <a:schemeClr val="tx1"/>
                </a:solidFill>
                <a:cs typeface="+mn-ea"/>
                <a:sym typeface="+mn-lt"/>
              </a:rPr>
              <a:t>，且呈现增长趋势</a:t>
            </a:r>
            <a:endParaRPr lang="en-US" altLang="zh-CN" sz="1400" dirty="0">
              <a:solidFill>
                <a:schemeClr val="tx1"/>
              </a:solidFill>
              <a:cs typeface="+mn-ea"/>
              <a:sym typeface="+mn-lt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cs typeface="+mn-ea"/>
                <a:sym typeface="+mn-lt"/>
              </a:rPr>
              <a:t>我国向国际社会承诺2030年终结其流行，并纳入《健康中国2030》规划纲要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我国</a:t>
            </a:r>
            <a:r>
              <a:rPr lang="en-US" sz="1400" dirty="0">
                <a:solidFill>
                  <a:schemeClr val="tx1"/>
                </a:solidFill>
                <a:cs typeface="+mn-ea"/>
                <a:sym typeface="+mn-lt"/>
              </a:rPr>
              <a:t>目标在2030年实现3个</a:t>
            </a: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“</a:t>
            </a:r>
            <a:r>
              <a:rPr lang="en-US" sz="1400" dirty="0">
                <a:solidFill>
                  <a:schemeClr val="tx1"/>
                </a:solidFill>
                <a:cs typeface="+mn-ea"/>
                <a:sym typeface="+mn-lt"/>
              </a:rPr>
              <a:t>95%</a:t>
            </a: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”</a:t>
            </a:r>
            <a:endParaRPr lang="en-US" sz="1400" dirty="0">
              <a:solidFill>
                <a:schemeClr val="tx1"/>
              </a:solidFill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EB842C"/>
                </a:solidFill>
                <a:cs typeface="+mn-ea"/>
                <a:sym typeface="+mn-lt"/>
              </a:rPr>
              <a:t>     95%</a:t>
            </a:r>
            <a:r>
              <a:rPr lang="en-US" sz="1400" b="1" dirty="0">
                <a:solidFill>
                  <a:schemeClr val="accent1"/>
                </a:solidFill>
                <a:cs typeface="+mn-ea"/>
                <a:sym typeface="+mn-lt"/>
              </a:rPr>
              <a:t>诊断率，</a:t>
            </a:r>
            <a:r>
              <a:rPr lang="en-US" sz="1400" b="1" dirty="0">
                <a:solidFill>
                  <a:srgbClr val="EB842C"/>
                </a:solidFill>
                <a:cs typeface="+mn-ea"/>
                <a:sym typeface="+mn-lt"/>
              </a:rPr>
              <a:t>95%</a:t>
            </a:r>
            <a:r>
              <a:rPr lang="en-US" sz="1400" b="1" dirty="0">
                <a:solidFill>
                  <a:schemeClr val="accent1"/>
                </a:solidFill>
                <a:cs typeface="+mn-ea"/>
                <a:sym typeface="+mn-lt"/>
              </a:rPr>
              <a:t>治疗率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  <a:sym typeface="+mn-lt"/>
              </a:rPr>
              <a:t>，</a:t>
            </a:r>
            <a:r>
              <a:rPr lang="en-US" sz="1400" b="1" dirty="0">
                <a:solidFill>
                  <a:srgbClr val="EB842C"/>
                </a:solidFill>
                <a:cs typeface="+mn-ea"/>
                <a:sym typeface="+mn-lt"/>
              </a:rPr>
              <a:t>95%</a:t>
            </a:r>
            <a:r>
              <a:rPr lang="en-US" sz="1400" b="1" dirty="0">
                <a:solidFill>
                  <a:schemeClr val="accent1"/>
                </a:solidFill>
                <a:cs typeface="+mn-ea"/>
                <a:sym typeface="+mn-lt"/>
              </a:rPr>
              <a:t>病毒学抑制</a:t>
            </a:r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857B220F-5CAD-4701-8CDD-678F5729B2BF}"/>
              </a:ext>
            </a:extLst>
          </p:cNvPr>
          <p:cNvSpPr/>
          <p:nvPr/>
        </p:nvSpPr>
        <p:spPr>
          <a:xfrm>
            <a:off x="6820048" y="4316141"/>
            <a:ext cx="5229902" cy="1908851"/>
          </a:xfrm>
          <a:custGeom>
            <a:avLst/>
            <a:gdLst>
              <a:gd name="connsiteX0" fmla="*/ 0 w 1652100"/>
              <a:gd name="connsiteY0" fmla="*/ 107019 h 1070186"/>
              <a:gd name="connsiteX1" fmla="*/ 107019 w 1652100"/>
              <a:gd name="connsiteY1" fmla="*/ 0 h 1070186"/>
              <a:gd name="connsiteX2" fmla="*/ 1545081 w 1652100"/>
              <a:gd name="connsiteY2" fmla="*/ 0 h 1070186"/>
              <a:gd name="connsiteX3" fmla="*/ 1652100 w 1652100"/>
              <a:gd name="connsiteY3" fmla="*/ 107019 h 1070186"/>
              <a:gd name="connsiteX4" fmla="*/ 1652100 w 1652100"/>
              <a:gd name="connsiteY4" fmla="*/ 963167 h 1070186"/>
              <a:gd name="connsiteX5" fmla="*/ 1545081 w 1652100"/>
              <a:gd name="connsiteY5" fmla="*/ 1070186 h 1070186"/>
              <a:gd name="connsiteX6" fmla="*/ 107019 w 1652100"/>
              <a:gd name="connsiteY6" fmla="*/ 1070186 h 1070186"/>
              <a:gd name="connsiteX7" fmla="*/ 0 w 1652100"/>
              <a:gd name="connsiteY7" fmla="*/ 963167 h 1070186"/>
              <a:gd name="connsiteX8" fmla="*/ 0 w 1652100"/>
              <a:gd name="connsiteY8" fmla="*/ 107019 h 1070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100" h="1070186">
                <a:moveTo>
                  <a:pt x="0" y="107019"/>
                </a:moveTo>
                <a:cubicBezTo>
                  <a:pt x="0" y="47914"/>
                  <a:pt x="47914" y="0"/>
                  <a:pt x="107019" y="0"/>
                </a:cubicBezTo>
                <a:lnTo>
                  <a:pt x="1545081" y="0"/>
                </a:lnTo>
                <a:cubicBezTo>
                  <a:pt x="1604186" y="0"/>
                  <a:pt x="1652100" y="47914"/>
                  <a:pt x="1652100" y="107019"/>
                </a:cubicBezTo>
                <a:lnTo>
                  <a:pt x="1652100" y="963167"/>
                </a:lnTo>
                <a:cubicBezTo>
                  <a:pt x="1652100" y="1022272"/>
                  <a:pt x="1604186" y="1070186"/>
                  <a:pt x="1545081" y="1070186"/>
                </a:cubicBezTo>
                <a:lnTo>
                  <a:pt x="107019" y="1070186"/>
                </a:lnTo>
                <a:cubicBezTo>
                  <a:pt x="47914" y="1070186"/>
                  <a:pt x="0" y="1022272"/>
                  <a:pt x="0" y="963167"/>
                </a:cubicBezTo>
                <a:lnTo>
                  <a:pt x="0" y="107019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  <a:hueOff val="-223338"/>
              <a:satOff val="-83685"/>
              <a:lumOff val="55482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25818" tIns="397735" rIns="130188" bIns="130188" numCol="1" spcCol="1270" anchor="t" anchorCtr="0">
            <a:noAutofit/>
          </a:bodyPr>
          <a:lstStyle/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国家对艾滋病毒感染治疗有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  <a:sym typeface="+mn-lt"/>
              </a:rPr>
              <a:t>清晰的诊断标准和确诊复核流程</a:t>
            </a:r>
            <a:endParaRPr lang="en-US" altLang="zh-CN" sz="1400" b="1" dirty="0">
              <a:solidFill>
                <a:schemeClr val="accent1"/>
              </a:solidFill>
              <a:cs typeface="+mn-ea"/>
              <a:sym typeface="+mn-lt"/>
            </a:endParaRP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本品</a:t>
            </a:r>
            <a:r>
              <a:rPr lang="en-US" sz="1400" b="1" dirty="0" err="1">
                <a:solidFill>
                  <a:schemeClr val="accent1"/>
                </a:solidFill>
                <a:cs typeface="+mn-ea"/>
                <a:sym typeface="+mn-lt"/>
              </a:rPr>
              <a:t>获批适应症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  <a:sym typeface="+mn-lt"/>
              </a:rPr>
              <a:t>明确</a:t>
            </a: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且有明确的指南规范及临床路径，抗病毒药物滥用可能性小，</a:t>
            </a:r>
            <a:r>
              <a:rPr lang="zh-CN" altLang="en-US" sz="1400" b="1" dirty="0">
                <a:solidFill>
                  <a:srgbClr val="EB842C"/>
                </a:solidFill>
                <a:cs typeface="+mn-ea"/>
                <a:sym typeface="+mn-lt"/>
              </a:rPr>
              <a:t>临床管理成本低</a:t>
            </a:r>
            <a:endParaRPr lang="en-US" sz="1400" b="1" dirty="0">
              <a:solidFill>
                <a:srgbClr val="EB842C"/>
              </a:solidFill>
              <a:cs typeface="+mn-ea"/>
              <a:sym typeface="+mn-lt"/>
            </a:endParaRP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C51BB72B-8C1D-4921-9E87-4285F2C1A829}"/>
              </a:ext>
            </a:extLst>
          </p:cNvPr>
          <p:cNvSpPr/>
          <p:nvPr/>
        </p:nvSpPr>
        <p:spPr>
          <a:xfrm>
            <a:off x="6820048" y="1476971"/>
            <a:ext cx="5371952" cy="2365161"/>
          </a:xfrm>
          <a:custGeom>
            <a:avLst/>
            <a:gdLst>
              <a:gd name="connsiteX0" fmla="*/ 0 w 1652100"/>
              <a:gd name="connsiteY0" fmla="*/ 107019 h 1070186"/>
              <a:gd name="connsiteX1" fmla="*/ 107019 w 1652100"/>
              <a:gd name="connsiteY1" fmla="*/ 0 h 1070186"/>
              <a:gd name="connsiteX2" fmla="*/ 1545081 w 1652100"/>
              <a:gd name="connsiteY2" fmla="*/ 0 h 1070186"/>
              <a:gd name="connsiteX3" fmla="*/ 1652100 w 1652100"/>
              <a:gd name="connsiteY3" fmla="*/ 107019 h 1070186"/>
              <a:gd name="connsiteX4" fmla="*/ 1652100 w 1652100"/>
              <a:gd name="connsiteY4" fmla="*/ 963167 h 1070186"/>
              <a:gd name="connsiteX5" fmla="*/ 1545081 w 1652100"/>
              <a:gd name="connsiteY5" fmla="*/ 1070186 h 1070186"/>
              <a:gd name="connsiteX6" fmla="*/ 107019 w 1652100"/>
              <a:gd name="connsiteY6" fmla="*/ 1070186 h 1070186"/>
              <a:gd name="connsiteX7" fmla="*/ 0 w 1652100"/>
              <a:gd name="connsiteY7" fmla="*/ 963167 h 1070186"/>
              <a:gd name="connsiteX8" fmla="*/ 0 w 1652100"/>
              <a:gd name="connsiteY8" fmla="*/ 107019 h 1070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100" h="1070186">
                <a:moveTo>
                  <a:pt x="0" y="107019"/>
                </a:moveTo>
                <a:cubicBezTo>
                  <a:pt x="0" y="47914"/>
                  <a:pt x="47914" y="0"/>
                  <a:pt x="107019" y="0"/>
                </a:cubicBezTo>
                <a:lnTo>
                  <a:pt x="1545081" y="0"/>
                </a:lnTo>
                <a:cubicBezTo>
                  <a:pt x="1604186" y="0"/>
                  <a:pt x="1652100" y="47914"/>
                  <a:pt x="1652100" y="107019"/>
                </a:cubicBezTo>
                <a:lnTo>
                  <a:pt x="1652100" y="963167"/>
                </a:lnTo>
                <a:cubicBezTo>
                  <a:pt x="1652100" y="1022272"/>
                  <a:pt x="1604186" y="1070186"/>
                  <a:pt x="1545081" y="1070186"/>
                </a:cubicBezTo>
                <a:lnTo>
                  <a:pt x="107019" y="1070186"/>
                </a:lnTo>
                <a:cubicBezTo>
                  <a:pt x="47914" y="1070186"/>
                  <a:pt x="0" y="1022272"/>
                  <a:pt x="0" y="963167"/>
                </a:cubicBezTo>
                <a:lnTo>
                  <a:pt x="0" y="107019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  <a:hueOff val="-111669"/>
              <a:satOff val="-41842"/>
              <a:lumOff val="27741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25818" tIns="130188" rIns="130188" bIns="397735" numCol="1" spcCol="1270" anchor="t" anchorCtr="0">
            <a:no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zh-CN" sz="1400" dirty="0">
                <a:solidFill>
                  <a:schemeClr val="tx1"/>
                </a:solidFill>
                <a:cs typeface="+mn-ea"/>
                <a:sym typeface="+mn-lt"/>
              </a:rPr>
              <a:t>NNRTIs </a:t>
            </a: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是我国最常用的</a:t>
            </a:r>
            <a:r>
              <a:rPr lang="en-US" altLang="zh-CN" sz="1400" dirty="0">
                <a:solidFill>
                  <a:schemeClr val="tx1"/>
                </a:solidFill>
                <a:cs typeface="+mn-ea"/>
                <a:sym typeface="+mn-lt"/>
              </a:rPr>
              <a:t>HIV</a:t>
            </a: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治疗药物，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  <a:sym typeface="+mn-lt"/>
              </a:rPr>
              <a:t>现有第一代</a:t>
            </a:r>
            <a:r>
              <a:rPr lang="en-US" altLang="zh-CN" sz="1400" b="1" dirty="0">
                <a:solidFill>
                  <a:schemeClr val="accent1"/>
                </a:solidFill>
                <a:cs typeface="+mn-ea"/>
                <a:sym typeface="+mn-lt"/>
              </a:rPr>
              <a:t>NNRTI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  <a:sym typeface="+mn-lt"/>
              </a:rPr>
              <a:t>类药物神经精神等不良事件发生率较高，耐药屏障较低</a:t>
            </a: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，导致部分患者无法接受这些药物的治疗</a:t>
            </a:r>
            <a:endParaRPr lang="en-US" altLang="zh-CN" sz="1400" dirty="0">
              <a:solidFill>
                <a:schemeClr val="tx1"/>
              </a:solidFill>
              <a:cs typeface="+mn-ea"/>
              <a:sym typeface="+mn-lt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zh-CN" altLang="en-US" sz="1400" b="1" dirty="0">
                <a:solidFill>
                  <a:schemeClr val="tx1"/>
                </a:solidFill>
                <a:cs typeface="+mn-ea"/>
                <a:sym typeface="+mn-lt"/>
              </a:rPr>
              <a:t>新一代</a:t>
            </a:r>
            <a:r>
              <a:rPr lang="en-US" altLang="zh-CN" sz="1400" b="1" dirty="0">
                <a:solidFill>
                  <a:schemeClr val="tx1"/>
                </a:solidFill>
                <a:cs typeface="+mn-ea"/>
                <a:sym typeface="+mn-lt"/>
              </a:rPr>
              <a:t>NNRTI</a:t>
            </a:r>
            <a:r>
              <a:rPr lang="zh-CN" altLang="en-US" sz="1400" b="1" dirty="0">
                <a:solidFill>
                  <a:schemeClr val="tx1"/>
                </a:solidFill>
                <a:cs typeface="+mn-ea"/>
                <a:sym typeface="+mn-lt"/>
              </a:rPr>
              <a:t>药物</a:t>
            </a:r>
            <a:r>
              <a:rPr lang="zh-CN" altLang="en-US" sz="1400" b="1" dirty="0">
                <a:solidFill>
                  <a:srgbClr val="EB842C"/>
                </a:solidFill>
                <a:cs typeface="+mn-ea"/>
                <a:sym typeface="+mn-lt"/>
              </a:rPr>
              <a:t>多拉米替片</a:t>
            </a: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保证较高疗效同时，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  <a:sym typeface="+mn-lt"/>
              </a:rPr>
              <a:t>神经精神及血脂等方面</a:t>
            </a:r>
            <a:r>
              <a:rPr lang="zh-CN" altLang="en-US" sz="1400" b="1" dirty="0">
                <a:solidFill>
                  <a:srgbClr val="EB842C"/>
                </a:solidFill>
                <a:cs typeface="+mn-ea"/>
                <a:sym typeface="+mn-lt"/>
              </a:rPr>
              <a:t>安全性较好，耐药屏障较高、药物相互作用少，服用方便</a:t>
            </a: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，可为</a:t>
            </a:r>
            <a:r>
              <a:rPr lang="en-US" altLang="zh-CN" sz="1400" dirty="0">
                <a:solidFill>
                  <a:schemeClr val="tx1"/>
                </a:solidFill>
                <a:cs typeface="+mn-ea"/>
                <a:sym typeface="+mn-lt"/>
              </a:rPr>
              <a:t>HIV</a:t>
            </a: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基本治疗需求提供保障</a:t>
            </a: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5337293F-B9ED-44E4-B643-4CA66973FA07}"/>
              </a:ext>
            </a:extLst>
          </p:cNvPr>
          <p:cNvSpPr/>
          <p:nvPr/>
        </p:nvSpPr>
        <p:spPr>
          <a:xfrm>
            <a:off x="4581017" y="2327150"/>
            <a:ext cx="1448096" cy="1448096"/>
          </a:xfrm>
          <a:custGeom>
            <a:avLst/>
            <a:gdLst>
              <a:gd name="connsiteX0" fmla="*/ 0 w 1448096"/>
              <a:gd name="connsiteY0" fmla="*/ 1448096 h 1448096"/>
              <a:gd name="connsiteX1" fmla="*/ 1448096 w 1448096"/>
              <a:gd name="connsiteY1" fmla="*/ 0 h 1448096"/>
              <a:gd name="connsiteX2" fmla="*/ 1448096 w 1448096"/>
              <a:gd name="connsiteY2" fmla="*/ 1448096 h 1448096"/>
              <a:gd name="connsiteX3" fmla="*/ 0 w 1448096"/>
              <a:gd name="connsiteY3" fmla="*/ 1448096 h 1448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48096" h="1448096">
                <a:moveTo>
                  <a:pt x="0" y="1448096"/>
                </a:moveTo>
                <a:cubicBezTo>
                  <a:pt x="0" y="648335"/>
                  <a:pt x="648335" y="0"/>
                  <a:pt x="1448096" y="0"/>
                </a:cubicBezTo>
                <a:lnTo>
                  <a:pt x="1448096" y="1448096"/>
                </a:lnTo>
                <a:lnTo>
                  <a:pt x="0" y="1448096"/>
                </a:lnTo>
                <a:close/>
              </a:path>
            </a:pathLst>
          </a:custGeom>
          <a:solidFill>
            <a:srgbClr val="04AEB0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shade val="5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16593" tIns="516593" rIns="92456" bIns="92456" numCol="1" spcCol="1270" anchor="ctr" anchorCtr="0">
            <a:noAutofit/>
          </a:bodyPr>
          <a:lstStyle/>
          <a:p>
            <a:pPr marL="0" lvl="0" indent="0" algn="ctr" defTabSz="577850">
              <a:lnSpc>
                <a:spcPct val="15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zh-CN" altLang="en-US" sz="1400" b="1" kern="1200" dirty="0">
                <a:solidFill>
                  <a:schemeClr val="bg1"/>
                </a:solidFill>
                <a:cs typeface="+mn-ea"/>
                <a:sym typeface="+mn-lt"/>
              </a:rPr>
              <a:t>公共健康促进大</a:t>
            </a:r>
            <a:endParaRPr lang="en-US" sz="1400" kern="1200" dirty="0">
              <a:solidFill>
                <a:schemeClr val="bg1"/>
              </a:solidFill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16B99882-0812-40B3-A766-3ACB36A072C5}"/>
              </a:ext>
            </a:extLst>
          </p:cNvPr>
          <p:cNvSpPr/>
          <p:nvPr/>
        </p:nvSpPr>
        <p:spPr>
          <a:xfrm>
            <a:off x="6064643" y="2327150"/>
            <a:ext cx="1448096" cy="1448096"/>
          </a:xfrm>
          <a:custGeom>
            <a:avLst/>
            <a:gdLst>
              <a:gd name="connsiteX0" fmla="*/ 0 w 1448096"/>
              <a:gd name="connsiteY0" fmla="*/ 1448096 h 1448096"/>
              <a:gd name="connsiteX1" fmla="*/ 1448096 w 1448096"/>
              <a:gd name="connsiteY1" fmla="*/ 0 h 1448096"/>
              <a:gd name="connsiteX2" fmla="*/ 1448096 w 1448096"/>
              <a:gd name="connsiteY2" fmla="*/ 1448096 h 1448096"/>
              <a:gd name="connsiteX3" fmla="*/ 0 w 1448096"/>
              <a:gd name="connsiteY3" fmla="*/ 1448096 h 1448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48096" h="1448096">
                <a:moveTo>
                  <a:pt x="0" y="0"/>
                </a:moveTo>
                <a:cubicBezTo>
                  <a:pt x="799761" y="0"/>
                  <a:pt x="1448096" y="648335"/>
                  <a:pt x="1448096" y="1448096"/>
                </a:cubicBezTo>
                <a:lnTo>
                  <a:pt x="0" y="1448096"/>
                </a:lnTo>
                <a:lnTo>
                  <a:pt x="0" y="0"/>
                </a:lnTo>
                <a:close/>
              </a:path>
            </a:pathLst>
          </a:custGeom>
          <a:solidFill>
            <a:srgbClr val="FCCA59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shade val="50000"/>
              <a:hueOff val="-111669"/>
              <a:satOff val="-41842"/>
              <a:lumOff val="27741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456" tIns="516593" rIns="516593" bIns="92456" numCol="1" spcCol="1270" anchor="ctr" anchorCtr="0">
            <a:noAutofit/>
          </a:bodyPr>
          <a:lstStyle/>
          <a:p>
            <a:pPr marL="0" lvl="0" indent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400" kern="1200" dirty="0">
              <a:solidFill>
                <a:schemeClr val="bg1"/>
              </a:solidFill>
            </a:endParaRP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3E6494DF-CE08-4D99-A442-09F31D90A0C2}"/>
              </a:ext>
            </a:extLst>
          </p:cNvPr>
          <p:cNvSpPr/>
          <p:nvPr/>
        </p:nvSpPr>
        <p:spPr>
          <a:xfrm>
            <a:off x="6060101" y="3813851"/>
            <a:ext cx="1448096" cy="1448097"/>
          </a:xfrm>
          <a:custGeom>
            <a:avLst/>
            <a:gdLst>
              <a:gd name="connsiteX0" fmla="*/ 0 w 1448096"/>
              <a:gd name="connsiteY0" fmla="*/ 1448096 h 1448096"/>
              <a:gd name="connsiteX1" fmla="*/ 1448096 w 1448096"/>
              <a:gd name="connsiteY1" fmla="*/ 0 h 1448096"/>
              <a:gd name="connsiteX2" fmla="*/ 1448096 w 1448096"/>
              <a:gd name="connsiteY2" fmla="*/ 1448096 h 1448096"/>
              <a:gd name="connsiteX3" fmla="*/ 0 w 1448096"/>
              <a:gd name="connsiteY3" fmla="*/ 1448096 h 1448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48096" h="1448096">
                <a:moveTo>
                  <a:pt x="1448096" y="0"/>
                </a:moveTo>
                <a:cubicBezTo>
                  <a:pt x="1448096" y="799761"/>
                  <a:pt x="799761" y="1448096"/>
                  <a:pt x="0" y="1448096"/>
                </a:cubicBezTo>
                <a:lnTo>
                  <a:pt x="0" y="0"/>
                </a:lnTo>
                <a:lnTo>
                  <a:pt x="1448096" y="0"/>
                </a:lnTo>
                <a:close/>
              </a:path>
            </a:pathLst>
          </a:custGeom>
          <a:solidFill>
            <a:srgbClr val="04AEB0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shade val="50000"/>
              <a:hueOff val="-223338"/>
              <a:satOff val="-83685"/>
              <a:lumOff val="55482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456" tIns="92457" rIns="516593" bIns="516593" numCol="1" spcCol="1270" anchor="ctr" anchorCtr="0">
            <a:noAutofit/>
          </a:bodyPr>
          <a:lstStyle/>
          <a:p>
            <a:pPr marL="0" lvl="0" indent="0" algn="ctr" defTabSz="577850">
              <a:lnSpc>
                <a:spcPct val="15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临床管理难度小</a:t>
            </a:r>
            <a:endParaRPr lang="en-US" sz="1400" kern="1200" dirty="0">
              <a:solidFill>
                <a:schemeClr val="bg1"/>
              </a:solidFill>
            </a:endParaRP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75264F28-4B53-4543-A6B1-3008E379E586}"/>
              </a:ext>
            </a:extLst>
          </p:cNvPr>
          <p:cNvSpPr/>
          <p:nvPr/>
        </p:nvSpPr>
        <p:spPr>
          <a:xfrm>
            <a:off x="4581017" y="3813852"/>
            <a:ext cx="1448096" cy="1448096"/>
          </a:xfrm>
          <a:custGeom>
            <a:avLst/>
            <a:gdLst>
              <a:gd name="connsiteX0" fmla="*/ 0 w 1448096"/>
              <a:gd name="connsiteY0" fmla="*/ 1448096 h 1448096"/>
              <a:gd name="connsiteX1" fmla="*/ 1448096 w 1448096"/>
              <a:gd name="connsiteY1" fmla="*/ 0 h 1448096"/>
              <a:gd name="connsiteX2" fmla="*/ 1448096 w 1448096"/>
              <a:gd name="connsiteY2" fmla="*/ 1448096 h 1448096"/>
              <a:gd name="connsiteX3" fmla="*/ 0 w 1448096"/>
              <a:gd name="connsiteY3" fmla="*/ 1448096 h 1448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48096" h="1448096">
                <a:moveTo>
                  <a:pt x="1448096" y="1448096"/>
                </a:moveTo>
                <a:cubicBezTo>
                  <a:pt x="648335" y="1448096"/>
                  <a:pt x="0" y="799761"/>
                  <a:pt x="0" y="0"/>
                </a:cubicBezTo>
                <a:lnTo>
                  <a:pt x="1448096" y="0"/>
                </a:lnTo>
                <a:lnTo>
                  <a:pt x="1448096" y="1448096"/>
                </a:lnTo>
                <a:close/>
              </a:path>
            </a:pathLst>
          </a:custGeom>
          <a:solidFill>
            <a:srgbClr val="FCCA59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shade val="50000"/>
              <a:hueOff val="-111669"/>
              <a:satOff val="-41842"/>
              <a:lumOff val="27741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16593" tIns="92456" rIns="92456" bIns="516593" numCol="1" spcCol="1270" anchor="ctr" anchorCtr="0">
            <a:noAutofit/>
          </a:bodyPr>
          <a:lstStyle/>
          <a:p>
            <a:pPr marL="0" lvl="0" indent="0" algn="ctr" defTabSz="577850">
              <a:lnSpc>
                <a:spcPct val="15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弥补目录短板</a:t>
            </a:r>
            <a:endParaRPr lang="en-US" sz="1400" kern="1200" dirty="0">
              <a:solidFill>
                <a:schemeClr val="bg1"/>
              </a:solidFill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E9F545D4-CC11-4B0E-BFFC-938BD9A0B5DB}"/>
              </a:ext>
            </a:extLst>
          </p:cNvPr>
          <p:cNvSpPr txBox="1"/>
          <p:nvPr/>
        </p:nvSpPr>
        <p:spPr>
          <a:xfrm>
            <a:off x="193722" y="4164845"/>
            <a:ext cx="4500825" cy="18081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zh-CN" altLang="en-US" sz="1600" b="1" dirty="0">
                <a:solidFill>
                  <a:srgbClr val="EB842C"/>
                </a:solidFill>
                <a:cs typeface="+mn-ea"/>
                <a:sym typeface="+mn-lt"/>
              </a:rPr>
              <a:t>心血管疾病</a:t>
            </a:r>
            <a:r>
              <a:rPr lang="zh-CN" altLang="en-US" sz="1400" dirty="0">
                <a:cs typeface="+mn-ea"/>
                <a:sym typeface="+mn-lt"/>
              </a:rPr>
              <a:t>是</a:t>
            </a:r>
            <a:r>
              <a:rPr lang="en-US" sz="1400" dirty="0">
                <a:cs typeface="+mn-ea"/>
                <a:sym typeface="+mn-lt"/>
              </a:rPr>
              <a:t>HIV</a:t>
            </a:r>
            <a:r>
              <a:rPr lang="zh-CN" altLang="en-US" sz="1400" dirty="0">
                <a:cs typeface="+mn-ea"/>
                <a:sym typeface="+mn-lt"/>
              </a:rPr>
              <a:t>感染者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  <a:sym typeface="+mn-lt"/>
              </a:rPr>
              <a:t>非艾滋病死亡</a:t>
            </a:r>
            <a:r>
              <a:rPr lang="zh-CN" altLang="en-US" sz="1400" dirty="0">
                <a:cs typeface="+mn-ea"/>
                <a:sym typeface="+mn-lt"/>
              </a:rPr>
              <a:t>的主要原因之一，已上升占比到</a:t>
            </a:r>
            <a:r>
              <a:rPr lang="en-US" altLang="zh-CN" b="1" dirty="0">
                <a:solidFill>
                  <a:srgbClr val="EB842C"/>
                </a:solidFill>
                <a:cs typeface="+mn-ea"/>
                <a:sym typeface="+mn-lt"/>
              </a:rPr>
              <a:t>23.8%</a:t>
            </a:r>
            <a:r>
              <a:rPr lang="en-US" altLang="zh-CN" sz="1400" baseline="30000" dirty="0">
                <a:cs typeface="+mn-ea"/>
                <a:sym typeface="+mn-lt"/>
              </a:rPr>
              <a:t> </a:t>
            </a:r>
            <a:r>
              <a:rPr lang="en-US" altLang="zh-CN" sz="1200" baseline="70000" dirty="0">
                <a:cs typeface="+mn-ea"/>
                <a:sym typeface="+mn-lt"/>
              </a:rPr>
              <a:t>2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zh-CN" altLang="en-US" sz="1400" dirty="0">
                <a:cs typeface="+mn-ea"/>
                <a:sym typeface="+mn-lt"/>
              </a:rPr>
              <a:t>本品治疗</a:t>
            </a:r>
            <a:r>
              <a:rPr lang="en-US" altLang="zh-CN" sz="1400" dirty="0">
                <a:cs typeface="+mn-ea"/>
                <a:sym typeface="+mn-lt"/>
              </a:rPr>
              <a:t>4</a:t>
            </a:r>
            <a:r>
              <a:rPr lang="zh-CN" altLang="en-US" sz="1400" dirty="0">
                <a:cs typeface="+mn-ea"/>
                <a:sym typeface="+mn-lt"/>
              </a:rPr>
              <a:t>年患者显示</a:t>
            </a:r>
            <a:r>
              <a:rPr lang="zh-CN" altLang="en-US" sz="1400" b="1" dirty="0">
                <a:cs typeface="+mn-ea"/>
                <a:sym typeface="+mn-lt"/>
              </a:rPr>
              <a:t>脂质代谢的安全性良好</a:t>
            </a:r>
            <a:r>
              <a:rPr lang="zh-CN" altLang="en-US" sz="1400" dirty="0">
                <a:cs typeface="+mn-ea"/>
                <a:sym typeface="+mn-lt"/>
              </a:rPr>
              <a:t>，对</a:t>
            </a:r>
            <a:r>
              <a:rPr lang="en-US" sz="1400" b="1" dirty="0">
                <a:solidFill>
                  <a:schemeClr val="accent1"/>
                </a:solidFill>
                <a:cs typeface="+mn-ea"/>
                <a:sym typeface="+mn-lt"/>
              </a:rPr>
              <a:t>L</a:t>
            </a:r>
            <a:r>
              <a:rPr lang="en-US" altLang="zh-CN" sz="1400" b="1" dirty="0">
                <a:solidFill>
                  <a:schemeClr val="accent1"/>
                </a:solidFill>
                <a:cs typeface="+mn-ea"/>
                <a:sym typeface="+mn-lt"/>
              </a:rPr>
              <a:t>D</a:t>
            </a:r>
            <a:r>
              <a:rPr lang="en-US" sz="1400" b="1" dirty="0">
                <a:solidFill>
                  <a:schemeClr val="accent1"/>
                </a:solidFill>
                <a:cs typeface="+mn-ea"/>
                <a:sym typeface="+mn-lt"/>
              </a:rPr>
              <a:t>L-C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  <a:sym typeface="+mn-lt"/>
              </a:rPr>
              <a:t>和非</a:t>
            </a:r>
            <a:r>
              <a:rPr lang="en-US" sz="1400" b="1" dirty="0">
                <a:solidFill>
                  <a:schemeClr val="accent1"/>
                </a:solidFill>
                <a:cs typeface="+mn-ea"/>
                <a:sym typeface="+mn-lt"/>
              </a:rPr>
              <a:t>HDL-C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  <a:sym typeface="+mn-lt"/>
              </a:rPr>
              <a:t>具有相对优效性</a:t>
            </a:r>
            <a:endParaRPr lang="en-US" altLang="zh-CN" sz="1400" b="1" dirty="0">
              <a:solidFill>
                <a:schemeClr val="accent1"/>
              </a:solidFill>
              <a:cs typeface="+mn-ea"/>
              <a:sym typeface="+mn-lt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zh-CN" altLang="en-US" sz="1400" dirty="0">
                <a:cs typeface="+mn-ea"/>
                <a:sym typeface="+mn-lt"/>
              </a:rPr>
              <a:t>满足医保目录中药品无法满足的</a:t>
            </a:r>
            <a:r>
              <a:rPr lang="en-GB" sz="1400" dirty="0">
                <a:cs typeface="+mn-ea"/>
                <a:sym typeface="+mn-lt"/>
              </a:rPr>
              <a:t>HIV</a:t>
            </a:r>
            <a:r>
              <a:rPr lang="zh-CN" altLang="en-US" sz="1400" dirty="0">
                <a:cs typeface="+mn-ea"/>
                <a:sym typeface="+mn-lt"/>
              </a:rPr>
              <a:t>长期治疗新需求</a:t>
            </a:r>
            <a:endParaRPr lang="en-US" sz="1400" dirty="0">
              <a:cs typeface="+mn-ea"/>
              <a:sym typeface="+mn-lt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D8B94282-0F8B-440C-AE69-14B019F21621}"/>
              </a:ext>
            </a:extLst>
          </p:cNvPr>
          <p:cNvSpPr txBox="1"/>
          <p:nvPr/>
        </p:nvSpPr>
        <p:spPr>
          <a:xfrm>
            <a:off x="6035166" y="3021309"/>
            <a:ext cx="1632477" cy="5555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zh-CN" altLang="en-US" sz="1400" b="1" kern="1200" dirty="0">
                <a:solidFill>
                  <a:schemeClr val="bg1"/>
                </a:solidFill>
                <a:cs typeface="+mn-ea"/>
                <a:sym typeface="+mn-lt"/>
              </a:rPr>
              <a:t>符合“保基本”</a:t>
            </a:r>
            <a:endParaRPr lang="en-US" altLang="zh-CN" sz="1400" b="1" kern="1200" dirty="0">
              <a:solidFill>
                <a:schemeClr val="bg1"/>
              </a:solidFill>
              <a:cs typeface="+mn-ea"/>
              <a:sym typeface="+mn-lt"/>
            </a:endParaRPr>
          </a:p>
          <a:p>
            <a:pPr marL="0" lvl="0" indent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zh-CN" altLang="en-US" sz="1400" b="1" kern="1200" dirty="0">
                <a:solidFill>
                  <a:schemeClr val="bg1"/>
                </a:solidFill>
                <a:cs typeface="+mn-ea"/>
                <a:sym typeface="+mn-lt"/>
              </a:rPr>
              <a:t>原则</a:t>
            </a:r>
            <a:endParaRPr lang="en-US" sz="1400" kern="1200" dirty="0">
              <a:solidFill>
                <a:schemeClr val="bg1"/>
              </a:solidFill>
            </a:endParaRPr>
          </a:p>
        </p:txBody>
      </p:sp>
      <p:sp>
        <p:nvSpPr>
          <p:cNvPr id="17" name="灯片编号占位符 1">
            <a:extLst>
              <a:ext uri="{FF2B5EF4-FFF2-40B4-BE49-F238E27FC236}">
                <a16:creationId xmlns:a16="http://schemas.microsoft.com/office/drawing/2014/main" id="{60FF8B53-2954-4150-90FC-3A5CF7D1210F}"/>
              </a:ext>
            </a:extLst>
          </p:cNvPr>
          <p:cNvSpPr txBox="1">
            <a:spLocks/>
          </p:cNvSpPr>
          <p:nvPr/>
        </p:nvSpPr>
        <p:spPr>
          <a:xfrm>
            <a:off x="11488224" y="6391029"/>
            <a:ext cx="671692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9</a:t>
            </a:r>
          </a:p>
        </p:txBody>
      </p:sp>
      <p:sp>
        <p:nvSpPr>
          <p:cNvPr id="19" name="标题 1">
            <a:extLst>
              <a:ext uri="{FF2B5EF4-FFF2-40B4-BE49-F238E27FC236}">
                <a16:creationId xmlns:a16="http://schemas.microsoft.com/office/drawing/2014/main" id="{B2AC5BD1-2905-4F28-8BFE-4D4C4E5BE264}"/>
              </a:ext>
            </a:extLst>
          </p:cNvPr>
          <p:cNvSpPr txBox="1">
            <a:spLocks/>
          </p:cNvSpPr>
          <p:nvPr/>
        </p:nvSpPr>
        <p:spPr>
          <a:xfrm>
            <a:off x="373569" y="423688"/>
            <a:ext cx="10067925" cy="850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50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公平性</a:t>
            </a:r>
            <a:endParaRPr lang="zh-CN" altLang="en-US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0896763C-EFAA-4636-986F-FB97C51B9DF4}"/>
              </a:ext>
            </a:extLst>
          </p:cNvPr>
          <p:cNvSpPr txBox="1"/>
          <p:nvPr/>
        </p:nvSpPr>
        <p:spPr>
          <a:xfrm>
            <a:off x="32084" y="6441575"/>
            <a:ext cx="71538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1.</a:t>
            </a:r>
            <a:r>
              <a:rPr lang="zh-CN" altLang="en-US" sz="900" b="0" u="none" strike="noStrike" baseline="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中国疾病预防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控制中心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http://www.nhc.gov.cn/jkj/s3578/202204/4fd88a291d914abf8f7a91f6333567e1.shtml</a:t>
            </a:r>
            <a:endParaRPr lang="zh-CN" altLang="en-US" sz="9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  <a:p>
            <a:r>
              <a:rPr lang="fr-FR" altLang="zh-C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.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 </a:t>
            </a:r>
            <a:r>
              <a:rPr lang="en-US" altLang="zh-CN" sz="900" dirty="0" err="1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Schwarcz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 SK, et al. AIDS Patient Care STDS. 2014;28(10):517-23</a:t>
            </a:r>
          </a:p>
        </p:txBody>
      </p:sp>
    </p:spTree>
    <p:extLst>
      <p:ext uri="{BB962C8B-B14F-4D97-AF65-F5344CB8AC3E}">
        <p14:creationId xmlns:p14="http://schemas.microsoft.com/office/powerpoint/2010/main" val="2669159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Sļídê">
            <a:extLst>
              <a:ext uri="{FF2B5EF4-FFF2-40B4-BE49-F238E27FC236}">
                <a16:creationId xmlns:a16="http://schemas.microsoft.com/office/drawing/2014/main" id="{C910E7CB-C64B-456B-A89E-825C96FCBDEF}"/>
              </a:ext>
            </a:extLst>
          </p:cNvPr>
          <p:cNvSpPr/>
          <p:nvPr/>
        </p:nvSpPr>
        <p:spPr>
          <a:xfrm>
            <a:off x="5279109" y="349027"/>
            <a:ext cx="1210588" cy="70788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45720" rIns="91440" bIns="45720" rtlCol="0" anchor="t" anchorCtr="0">
            <a:spAutoFit/>
          </a:bodyPr>
          <a:lstStyle/>
          <a:p>
            <a:r>
              <a:rPr kumimoji="1" lang="zh-CN" altLang="en-US" sz="4000" b="1" dirty="0">
                <a:solidFill>
                  <a:schemeClr val="accent1"/>
                </a:solidFill>
                <a:cs typeface="+mn-ea"/>
                <a:sym typeface="+mn-lt"/>
              </a:rPr>
              <a:t>目录</a:t>
            </a:r>
            <a:endParaRPr kumimoji="1" lang="en-US" altLang="zh-CN" sz="40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grpSp>
        <p:nvGrpSpPr>
          <p:cNvPr id="6" name="iṩľîďè">
            <a:extLst>
              <a:ext uri="{FF2B5EF4-FFF2-40B4-BE49-F238E27FC236}">
                <a16:creationId xmlns:a16="http://schemas.microsoft.com/office/drawing/2014/main" id="{93CFDAC3-C3E8-423F-883B-544BE3E1760F}"/>
              </a:ext>
            </a:extLst>
          </p:cNvPr>
          <p:cNvGrpSpPr/>
          <p:nvPr/>
        </p:nvGrpSpPr>
        <p:grpSpPr>
          <a:xfrm>
            <a:off x="580189" y="2633443"/>
            <a:ext cx="3016709" cy="640146"/>
            <a:chOff x="6340616" y="4369724"/>
            <a:chExt cx="3016709" cy="640146"/>
          </a:xfrm>
        </p:grpSpPr>
        <p:sp>
          <p:nvSpPr>
            <p:cNvPr id="9" name="îṩḷîḍè">
              <a:extLst>
                <a:ext uri="{FF2B5EF4-FFF2-40B4-BE49-F238E27FC236}">
                  <a16:creationId xmlns:a16="http://schemas.microsoft.com/office/drawing/2014/main" id="{F08E2298-B4F9-46D9-ACBA-547CA99AE67C}"/>
                </a:ext>
              </a:extLst>
            </p:cNvPr>
            <p:cNvSpPr/>
            <p:nvPr/>
          </p:nvSpPr>
          <p:spPr>
            <a:xfrm>
              <a:off x="6970732" y="4548205"/>
              <a:ext cx="2386593" cy="4616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r>
                <a:rPr kumimoji="1" lang="zh-CN" altLang="en-US" sz="2400" b="1" dirty="0">
                  <a:solidFill>
                    <a:schemeClr val="tx1"/>
                  </a:solidFill>
                  <a:cs typeface="+mn-ea"/>
                  <a:sym typeface="+mn-lt"/>
                </a:rPr>
                <a:t>药品基本信息</a:t>
              </a:r>
              <a:endParaRPr kumimoji="1" lang="en-US" altLang="zh-CN" sz="2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8" name="íṩḷiḋe">
              <a:extLst>
                <a:ext uri="{FF2B5EF4-FFF2-40B4-BE49-F238E27FC236}">
                  <a16:creationId xmlns:a16="http://schemas.microsoft.com/office/drawing/2014/main" id="{C91AFDFE-3BD5-4471-AFBA-343D9D9573BC}"/>
                </a:ext>
              </a:extLst>
            </p:cNvPr>
            <p:cNvSpPr txBox="1"/>
            <p:nvPr/>
          </p:nvSpPr>
          <p:spPr>
            <a:xfrm>
              <a:off x="6340616" y="4369724"/>
              <a:ext cx="540000" cy="540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</p:spPr>
          <p:txBody>
            <a:bodyPr wrap="none" lIns="91440" tIns="45720" rIns="91440" bIns="45720" rtlCol="0" anchor="ctr" anchorCtr="0">
              <a:noAutofit/>
            </a:bodyPr>
            <a:lstStyle/>
            <a:p>
              <a:pPr algn="ctr"/>
              <a:r>
                <a:rPr kumimoji="1" lang="en-US" altLang="zh-CN" sz="2000" b="1" dirty="0">
                  <a:solidFill>
                    <a:srgbClr val="FFFFFF"/>
                  </a:solidFill>
                  <a:cs typeface="+mn-ea"/>
                  <a:sym typeface="+mn-lt"/>
                </a:rPr>
                <a:t>01</a:t>
              </a:r>
              <a:endParaRPr kumimoji="1" lang="zh-CN" altLang="en-US" sz="2000" b="1" dirty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1" name="îSľiḍé">
            <a:extLst>
              <a:ext uri="{FF2B5EF4-FFF2-40B4-BE49-F238E27FC236}">
                <a16:creationId xmlns:a16="http://schemas.microsoft.com/office/drawing/2014/main" id="{6D07E8E9-FFB6-4C3A-A3E4-44ECED70642E}"/>
              </a:ext>
            </a:extLst>
          </p:cNvPr>
          <p:cNvGrpSpPr/>
          <p:nvPr/>
        </p:nvGrpSpPr>
        <p:grpSpPr>
          <a:xfrm>
            <a:off x="4840805" y="2589863"/>
            <a:ext cx="2755597" cy="1056599"/>
            <a:chOff x="6340616" y="4369724"/>
            <a:chExt cx="2755597" cy="1056599"/>
          </a:xfrm>
        </p:grpSpPr>
        <p:sp>
          <p:nvSpPr>
            <p:cNvPr id="14" name="iṣļiďé">
              <a:extLst>
                <a:ext uri="{FF2B5EF4-FFF2-40B4-BE49-F238E27FC236}">
                  <a16:creationId xmlns:a16="http://schemas.microsoft.com/office/drawing/2014/main" id="{3F86BF3D-EAEF-413F-80A4-24841C977E3E}"/>
                </a:ext>
              </a:extLst>
            </p:cNvPr>
            <p:cNvSpPr/>
            <p:nvPr/>
          </p:nvSpPr>
          <p:spPr>
            <a:xfrm>
              <a:off x="6974282" y="4595326"/>
              <a:ext cx="2121931" cy="8309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r>
                <a:rPr kumimoji="1" lang="zh-CN" altLang="en-US" sz="2400" b="1" dirty="0">
                  <a:solidFill>
                    <a:schemeClr val="tx1"/>
                  </a:solidFill>
                  <a:cs typeface="+mn-ea"/>
                  <a:sym typeface="+mn-lt"/>
                </a:rPr>
                <a:t>安全性</a:t>
              </a:r>
              <a:endParaRPr kumimoji="1" lang="en-US" altLang="zh-CN" sz="2000" dirty="0">
                <a:solidFill>
                  <a:schemeClr val="tx1"/>
                </a:solidFill>
                <a:cs typeface="+mn-ea"/>
                <a:sym typeface="+mn-lt"/>
              </a:endParaRPr>
            </a:p>
            <a:p>
              <a:endParaRPr kumimoji="1" lang="en-US" altLang="zh-CN" sz="2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3" name="îs1íḋè">
              <a:extLst>
                <a:ext uri="{FF2B5EF4-FFF2-40B4-BE49-F238E27FC236}">
                  <a16:creationId xmlns:a16="http://schemas.microsoft.com/office/drawing/2014/main" id="{021E7FF7-30F7-415E-B102-E1293DBB8680}"/>
                </a:ext>
              </a:extLst>
            </p:cNvPr>
            <p:cNvSpPr txBox="1"/>
            <p:nvPr/>
          </p:nvSpPr>
          <p:spPr>
            <a:xfrm>
              <a:off x="6340616" y="4369724"/>
              <a:ext cx="540000" cy="540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</p:spPr>
          <p:txBody>
            <a:bodyPr wrap="none" lIns="91440" tIns="45720" rIns="91440" bIns="45720" rtlCol="0" anchor="ctr" anchorCtr="0">
              <a:noAutofit/>
            </a:bodyPr>
            <a:lstStyle/>
            <a:p>
              <a:pPr algn="ctr"/>
              <a:r>
                <a:rPr kumimoji="1" lang="en-US" altLang="zh-CN" sz="2000" b="1" dirty="0">
                  <a:solidFill>
                    <a:srgbClr val="FFFFFF"/>
                  </a:solidFill>
                  <a:cs typeface="+mn-ea"/>
                  <a:sym typeface="+mn-lt"/>
                </a:rPr>
                <a:t>02</a:t>
              </a:r>
              <a:endParaRPr kumimoji="1" lang="zh-CN" altLang="en-US" sz="2000" b="1" dirty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6" name="íṥ1iďè">
            <a:extLst>
              <a:ext uri="{FF2B5EF4-FFF2-40B4-BE49-F238E27FC236}">
                <a16:creationId xmlns:a16="http://schemas.microsoft.com/office/drawing/2014/main" id="{F17686D8-E415-4AC8-9E01-A09B8A67AC03}"/>
              </a:ext>
            </a:extLst>
          </p:cNvPr>
          <p:cNvGrpSpPr/>
          <p:nvPr/>
        </p:nvGrpSpPr>
        <p:grpSpPr>
          <a:xfrm>
            <a:off x="9101420" y="2582313"/>
            <a:ext cx="2450282" cy="691276"/>
            <a:chOff x="6340616" y="4369724"/>
            <a:chExt cx="2450282" cy="691276"/>
          </a:xfrm>
        </p:grpSpPr>
        <p:sp>
          <p:nvSpPr>
            <p:cNvPr id="20" name="ís1ïdé">
              <a:extLst>
                <a:ext uri="{FF2B5EF4-FFF2-40B4-BE49-F238E27FC236}">
                  <a16:creationId xmlns:a16="http://schemas.microsoft.com/office/drawing/2014/main" id="{D243197D-051C-4B7A-82CB-61528BF3EC72}"/>
                </a:ext>
              </a:extLst>
            </p:cNvPr>
            <p:cNvSpPr/>
            <p:nvPr/>
          </p:nvSpPr>
          <p:spPr>
            <a:xfrm>
              <a:off x="7024257" y="4599335"/>
              <a:ext cx="1766641" cy="4616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r>
                <a:rPr kumimoji="1" lang="zh-CN" altLang="en-US" sz="2400" b="1" dirty="0">
                  <a:solidFill>
                    <a:schemeClr val="tx1"/>
                  </a:solidFill>
                  <a:cs typeface="+mn-ea"/>
                  <a:sym typeface="+mn-lt"/>
                </a:rPr>
                <a:t>有效性</a:t>
              </a:r>
              <a:endParaRPr kumimoji="1" lang="en-US" altLang="zh-CN" sz="2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8" name="îśḻiḍè">
              <a:extLst>
                <a:ext uri="{FF2B5EF4-FFF2-40B4-BE49-F238E27FC236}">
                  <a16:creationId xmlns:a16="http://schemas.microsoft.com/office/drawing/2014/main" id="{509E4799-DBF7-4473-A017-B160A51AD4A4}"/>
                </a:ext>
              </a:extLst>
            </p:cNvPr>
            <p:cNvSpPr txBox="1"/>
            <p:nvPr/>
          </p:nvSpPr>
          <p:spPr>
            <a:xfrm>
              <a:off x="6340616" y="4369724"/>
              <a:ext cx="540000" cy="540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</p:spPr>
          <p:txBody>
            <a:bodyPr wrap="none" lIns="91440" tIns="45720" rIns="91440" bIns="45720" rtlCol="0" anchor="ctr" anchorCtr="0">
              <a:noAutofit/>
            </a:bodyPr>
            <a:lstStyle/>
            <a:p>
              <a:pPr algn="ctr"/>
              <a:r>
                <a:rPr kumimoji="1" lang="en-US" altLang="zh-CN" sz="2000" b="1" dirty="0">
                  <a:solidFill>
                    <a:srgbClr val="FFFFFF"/>
                  </a:solidFill>
                  <a:cs typeface="+mn-ea"/>
                  <a:sym typeface="+mn-lt"/>
                </a:rPr>
                <a:t>03</a:t>
              </a:r>
              <a:endParaRPr kumimoji="1" lang="zh-CN" altLang="en-US" sz="2000" b="1" dirty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8" name="îŝḻîďè">
            <a:extLst>
              <a:ext uri="{FF2B5EF4-FFF2-40B4-BE49-F238E27FC236}">
                <a16:creationId xmlns:a16="http://schemas.microsoft.com/office/drawing/2014/main" id="{A4B83F46-6EB3-4715-84C2-65D835AEAB9F}"/>
              </a:ext>
            </a:extLst>
          </p:cNvPr>
          <p:cNvGrpSpPr/>
          <p:nvPr/>
        </p:nvGrpSpPr>
        <p:grpSpPr>
          <a:xfrm>
            <a:off x="580189" y="4430524"/>
            <a:ext cx="2803227" cy="728214"/>
            <a:chOff x="6340616" y="4369724"/>
            <a:chExt cx="2803227" cy="728214"/>
          </a:xfrm>
        </p:grpSpPr>
        <p:sp>
          <p:nvSpPr>
            <p:cNvPr id="31" name="ï$1ïḍè">
              <a:extLst>
                <a:ext uri="{FF2B5EF4-FFF2-40B4-BE49-F238E27FC236}">
                  <a16:creationId xmlns:a16="http://schemas.microsoft.com/office/drawing/2014/main" id="{12759895-A186-489E-A671-60565BC3F12A}"/>
                </a:ext>
              </a:extLst>
            </p:cNvPr>
            <p:cNvSpPr/>
            <p:nvPr/>
          </p:nvSpPr>
          <p:spPr>
            <a:xfrm>
              <a:off x="7377202" y="4636273"/>
              <a:ext cx="1766641" cy="4616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r>
                <a:rPr kumimoji="1" lang="zh-CN" altLang="en-US" sz="2400" b="1" dirty="0">
                  <a:solidFill>
                    <a:schemeClr val="tx1"/>
                  </a:solidFill>
                  <a:cs typeface="+mn-ea"/>
                  <a:sym typeface="+mn-lt"/>
                </a:rPr>
                <a:t>创新性</a:t>
              </a:r>
              <a:endParaRPr kumimoji="1" lang="en-US" altLang="zh-CN" sz="2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30" name="işḻidê">
              <a:extLst>
                <a:ext uri="{FF2B5EF4-FFF2-40B4-BE49-F238E27FC236}">
                  <a16:creationId xmlns:a16="http://schemas.microsoft.com/office/drawing/2014/main" id="{942F4C40-D700-4756-9EDE-76EE0B43495D}"/>
                </a:ext>
              </a:extLst>
            </p:cNvPr>
            <p:cNvSpPr txBox="1"/>
            <p:nvPr/>
          </p:nvSpPr>
          <p:spPr>
            <a:xfrm>
              <a:off x="6340616" y="4369724"/>
              <a:ext cx="540000" cy="540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</p:spPr>
          <p:txBody>
            <a:bodyPr wrap="none" lIns="91440" tIns="45720" rIns="91440" bIns="45720" rtlCol="0" anchor="ctr" anchorCtr="0">
              <a:noAutofit/>
            </a:bodyPr>
            <a:lstStyle/>
            <a:p>
              <a:pPr algn="ctr"/>
              <a:r>
                <a:rPr kumimoji="1" lang="en-US" altLang="zh-CN" sz="2000" b="1" dirty="0">
                  <a:solidFill>
                    <a:srgbClr val="FFFFFF"/>
                  </a:solidFill>
                  <a:cs typeface="+mn-ea"/>
                  <a:sym typeface="+mn-lt"/>
                </a:rPr>
                <a:t>04</a:t>
              </a:r>
              <a:endParaRPr kumimoji="1" lang="zh-CN" altLang="en-US" sz="2000" b="1" dirty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3" name="išliḓé">
            <a:extLst>
              <a:ext uri="{FF2B5EF4-FFF2-40B4-BE49-F238E27FC236}">
                <a16:creationId xmlns:a16="http://schemas.microsoft.com/office/drawing/2014/main" id="{E1F4B548-24A3-4D42-AAEF-EA8EA408408C}"/>
              </a:ext>
            </a:extLst>
          </p:cNvPr>
          <p:cNvGrpSpPr/>
          <p:nvPr/>
        </p:nvGrpSpPr>
        <p:grpSpPr>
          <a:xfrm>
            <a:off x="4840805" y="4432573"/>
            <a:ext cx="2453043" cy="731665"/>
            <a:chOff x="6340616" y="4349855"/>
            <a:chExt cx="2453043" cy="731665"/>
          </a:xfrm>
        </p:grpSpPr>
        <p:sp>
          <p:nvSpPr>
            <p:cNvPr id="36" name="iṡľïḑê">
              <a:extLst>
                <a:ext uri="{FF2B5EF4-FFF2-40B4-BE49-F238E27FC236}">
                  <a16:creationId xmlns:a16="http://schemas.microsoft.com/office/drawing/2014/main" id="{F65DF10A-6F80-45A6-BA0B-6A2E4E962BD1}"/>
                </a:ext>
              </a:extLst>
            </p:cNvPr>
            <p:cNvSpPr/>
            <p:nvPr/>
          </p:nvSpPr>
          <p:spPr>
            <a:xfrm>
              <a:off x="7027018" y="4619855"/>
              <a:ext cx="1766641" cy="4616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r>
                <a:rPr kumimoji="1" lang="zh-CN" altLang="en-US" sz="2400" b="1" dirty="0">
                  <a:solidFill>
                    <a:schemeClr val="tx1"/>
                  </a:solidFill>
                  <a:cs typeface="+mn-ea"/>
                  <a:sym typeface="+mn-lt"/>
                </a:rPr>
                <a:t>公平性</a:t>
              </a:r>
              <a:endParaRPr kumimoji="1" lang="en-US" altLang="zh-CN" sz="2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35" name="îŝļíḍê">
              <a:extLst>
                <a:ext uri="{FF2B5EF4-FFF2-40B4-BE49-F238E27FC236}">
                  <a16:creationId xmlns:a16="http://schemas.microsoft.com/office/drawing/2014/main" id="{42AF7044-AC1E-44C9-ADCF-13A3D5920EA7}"/>
                </a:ext>
              </a:extLst>
            </p:cNvPr>
            <p:cNvSpPr txBox="1"/>
            <p:nvPr/>
          </p:nvSpPr>
          <p:spPr>
            <a:xfrm>
              <a:off x="6340616" y="4349855"/>
              <a:ext cx="540000" cy="540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</p:spPr>
          <p:txBody>
            <a:bodyPr wrap="none" lIns="91440" tIns="45720" rIns="91440" bIns="45720" rtlCol="0" anchor="ctr" anchorCtr="0">
              <a:noAutofit/>
            </a:bodyPr>
            <a:lstStyle/>
            <a:p>
              <a:pPr algn="ctr"/>
              <a:r>
                <a:rPr kumimoji="1" lang="en-US" altLang="zh-CN" sz="2000" b="1" dirty="0">
                  <a:solidFill>
                    <a:srgbClr val="FFFFFF"/>
                  </a:solidFill>
                  <a:cs typeface="+mn-ea"/>
                  <a:sym typeface="+mn-lt"/>
                </a:rPr>
                <a:t>05</a:t>
              </a:r>
              <a:endParaRPr kumimoji="1" lang="zh-CN" altLang="en-US" sz="2000" b="1" dirty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</p:grpSp>
      <p:pic>
        <p:nvPicPr>
          <p:cNvPr id="12" name="图形 11" descr="盾蜱虫 纯色填充">
            <a:extLst>
              <a:ext uri="{FF2B5EF4-FFF2-40B4-BE49-F238E27FC236}">
                <a16:creationId xmlns:a16="http://schemas.microsoft.com/office/drawing/2014/main" id="{A08668B9-35A0-40F6-96B8-004B3222FFBB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07581" y="2143714"/>
            <a:ext cx="634021" cy="634021"/>
          </a:xfrm>
          <a:prstGeom prst="rect">
            <a:avLst/>
          </a:prstGeom>
        </p:spPr>
      </p:pic>
      <p:pic>
        <p:nvPicPr>
          <p:cNvPr id="21" name="图形 20" descr="讲故事 纯色填充">
            <a:extLst>
              <a:ext uri="{FF2B5EF4-FFF2-40B4-BE49-F238E27FC236}">
                <a16:creationId xmlns:a16="http://schemas.microsoft.com/office/drawing/2014/main" id="{736B39E7-5B2B-4248-980B-A486697B2F10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66075" y="2143714"/>
            <a:ext cx="634021" cy="634021"/>
          </a:xfrm>
          <a:prstGeom prst="rect">
            <a:avLst/>
          </a:prstGeom>
        </p:spPr>
      </p:pic>
      <p:pic>
        <p:nvPicPr>
          <p:cNvPr id="29" name="图形 28" descr="药品 纯色填充">
            <a:extLst>
              <a:ext uri="{FF2B5EF4-FFF2-40B4-BE49-F238E27FC236}">
                <a16:creationId xmlns:a16="http://schemas.microsoft.com/office/drawing/2014/main" id="{3E4DFA6A-CAD7-4C06-8095-E5EB506F4556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049376" y="2218292"/>
            <a:ext cx="634021" cy="634021"/>
          </a:xfrm>
          <a:prstGeom prst="rect">
            <a:avLst/>
          </a:prstGeom>
        </p:spPr>
      </p:pic>
      <p:pic>
        <p:nvPicPr>
          <p:cNvPr id="42" name="图形 41" descr="带齿轮的头部 纯色填充">
            <a:extLst>
              <a:ext uri="{FF2B5EF4-FFF2-40B4-BE49-F238E27FC236}">
                <a16:creationId xmlns:a16="http://schemas.microsoft.com/office/drawing/2014/main" id="{75E14236-7B83-42BA-ADCF-680B73560701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866075" y="3969697"/>
            <a:ext cx="634021" cy="634021"/>
          </a:xfrm>
          <a:prstGeom prst="rect">
            <a:avLst/>
          </a:prstGeom>
        </p:spPr>
      </p:pic>
      <p:pic>
        <p:nvPicPr>
          <p:cNvPr id="44" name="图形 43" descr="正义天平 纯色填充">
            <a:extLst>
              <a:ext uri="{FF2B5EF4-FFF2-40B4-BE49-F238E27FC236}">
                <a16:creationId xmlns:a16="http://schemas.microsoft.com/office/drawing/2014/main" id="{122556A8-C292-42C6-B05F-D8D28B860E41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674833" y="3969697"/>
            <a:ext cx="634021" cy="6340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62714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对象 14" hidden="1">
            <a:extLst>
              <a:ext uri="{FF2B5EF4-FFF2-40B4-BE49-F238E27FC236}">
                <a16:creationId xmlns:a16="http://schemas.microsoft.com/office/drawing/2014/main" id="{868BB6AF-8828-4A0A-BE62-678E0CB378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8532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338" imgH="338" progId="TCLayout.ActiveDocument.1">
                  <p:embed/>
                </p:oleObj>
              </mc:Choice>
              <mc:Fallback>
                <p:oleObj name="think-cell 幻灯片" r:id="rId5" imgW="338" imgH="338" progId="TCLayout.ActiveDocument.1">
                  <p:embed/>
                  <p:pic>
                    <p:nvPicPr>
                      <p:cNvPr id="15" name="对象 14" hidden="1">
                        <a:extLst>
                          <a:ext uri="{FF2B5EF4-FFF2-40B4-BE49-F238E27FC236}">
                            <a16:creationId xmlns:a16="http://schemas.microsoft.com/office/drawing/2014/main" id="{868BB6AF-8828-4A0A-BE62-678E0CB37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组合 27">
            <a:extLst>
              <a:ext uri="{FF2B5EF4-FFF2-40B4-BE49-F238E27FC236}">
                <a16:creationId xmlns:a16="http://schemas.microsoft.com/office/drawing/2014/main" id="{B5812679-21DB-4566-9FB3-8199B031164E}"/>
              </a:ext>
            </a:extLst>
          </p:cNvPr>
          <p:cNvGrpSpPr/>
          <p:nvPr/>
        </p:nvGrpSpPr>
        <p:grpSpPr>
          <a:xfrm>
            <a:off x="8451342" y="3529065"/>
            <a:ext cx="3897311" cy="1931107"/>
            <a:chOff x="8458529" y="2713097"/>
            <a:chExt cx="3897311" cy="1931107"/>
          </a:xfrm>
        </p:grpSpPr>
        <p:pic>
          <p:nvPicPr>
            <p:cNvPr id="43" name="图片 42">
              <a:extLst>
                <a:ext uri="{FF2B5EF4-FFF2-40B4-BE49-F238E27FC236}">
                  <a16:creationId xmlns:a16="http://schemas.microsoft.com/office/drawing/2014/main" id="{24D9AE13-E7ED-4AC2-9E70-C430CEB6FD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9600" r="50642"/>
            <a:stretch/>
          </p:blipFill>
          <p:spPr>
            <a:xfrm>
              <a:off x="8710235" y="2713097"/>
              <a:ext cx="3055839" cy="1323067"/>
            </a:xfrm>
            <a:prstGeom prst="rect">
              <a:avLst/>
            </a:prstGeom>
          </p:spPr>
        </p:pic>
        <p:sp>
          <p:nvSpPr>
            <p:cNvPr id="106" name="文本框 105">
              <a:extLst>
                <a:ext uri="{FF2B5EF4-FFF2-40B4-BE49-F238E27FC236}">
                  <a16:creationId xmlns:a16="http://schemas.microsoft.com/office/drawing/2014/main" id="{F577F538-5160-4FBB-B1FE-7001B37DE318}"/>
                </a:ext>
              </a:extLst>
            </p:cNvPr>
            <p:cNvSpPr txBox="1"/>
            <p:nvPr/>
          </p:nvSpPr>
          <p:spPr>
            <a:xfrm>
              <a:off x="8458529" y="4030510"/>
              <a:ext cx="3897311" cy="61369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200" b="1" u="sng" spc="-5" dirty="0">
                  <a:solidFill>
                    <a:schemeClr val="accent1"/>
                  </a:solidFill>
                  <a:latin typeface="+mn-ea"/>
                  <a:cs typeface="+mn-ea"/>
                  <a:sym typeface="+mn-lt"/>
                </a:rPr>
                <a:t>解决传统</a:t>
              </a:r>
              <a:r>
                <a:rPr lang="en-US" altLang="zh-CN" sz="1200" b="1" u="sng" spc="-5" dirty="0">
                  <a:solidFill>
                    <a:schemeClr val="accent1"/>
                  </a:solidFill>
                  <a:latin typeface="+mn-ea"/>
                  <a:cs typeface="+mn-ea"/>
                  <a:sym typeface="+mn-lt"/>
                </a:rPr>
                <a:t>NNRTIs </a:t>
              </a:r>
              <a:r>
                <a:rPr lang="en-US" altLang="zh-CN" sz="1200" spc="-5" dirty="0">
                  <a:latin typeface="+mn-ea"/>
                  <a:cs typeface="+mn-ea"/>
                  <a:sym typeface="+mn-lt"/>
                </a:rPr>
                <a:t>(</a:t>
              </a:r>
              <a:r>
                <a:rPr lang="zh-CN" altLang="en-US" sz="1200" spc="-5" dirty="0">
                  <a:latin typeface="+mn-ea"/>
                  <a:cs typeface="+mn-ea"/>
                  <a:sym typeface="+mn-lt"/>
                </a:rPr>
                <a:t>非核苷逆转录酶抑制剂</a:t>
              </a:r>
              <a:r>
                <a:rPr lang="en-US" altLang="zh-CN" sz="1200" spc="-5" dirty="0">
                  <a:latin typeface="+mn-ea"/>
                  <a:cs typeface="+mn-ea"/>
                  <a:sym typeface="+mn-lt"/>
                </a:rPr>
                <a:t>)</a:t>
              </a:r>
              <a:r>
                <a:rPr lang="zh-CN" altLang="en-US" sz="1200" b="1" u="sng" spc="-5" dirty="0">
                  <a:solidFill>
                    <a:schemeClr val="accent1"/>
                  </a:solidFill>
                  <a:latin typeface="+mn-ea"/>
                  <a:cs typeface="+mn-ea"/>
                  <a:sym typeface="+mn-lt"/>
                </a:rPr>
                <a:t>局限</a:t>
              </a:r>
              <a:endParaRPr lang="en-US" altLang="zh-CN" sz="1200" b="1" u="sng" spc="-5" dirty="0">
                <a:solidFill>
                  <a:schemeClr val="accent1"/>
                </a:solidFill>
                <a:latin typeface="+mn-ea"/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200" spc="-5" dirty="0">
                  <a:latin typeface="+mn-ea"/>
                  <a:cs typeface="+mn-ea"/>
                  <a:sym typeface="+mn-lt"/>
                </a:rPr>
                <a:t>并为</a:t>
              </a:r>
              <a:r>
                <a:rPr lang="zh-CN" altLang="en-US" sz="1200" b="1" u="sng" spc="-5" dirty="0">
                  <a:solidFill>
                    <a:srgbClr val="EB842C"/>
                  </a:solidFill>
                  <a:latin typeface="+mn-ea"/>
                  <a:cs typeface="+mn-ea"/>
                  <a:sym typeface="+mn-lt"/>
                </a:rPr>
                <a:t>降低</a:t>
              </a:r>
              <a:r>
                <a:rPr lang="en-US" altLang="zh-CN" sz="1200" spc="-5" dirty="0">
                  <a:latin typeface="+mn-ea"/>
                  <a:cs typeface="+mn-ea"/>
                  <a:sym typeface="+mn-lt"/>
                </a:rPr>
                <a:t>HIV</a:t>
              </a:r>
              <a:r>
                <a:rPr lang="zh-CN" altLang="en-US" sz="1200" spc="-5" dirty="0">
                  <a:latin typeface="+mn-ea"/>
                  <a:cs typeface="+mn-ea"/>
                  <a:sym typeface="+mn-lt"/>
                </a:rPr>
                <a:t>患者的</a:t>
              </a:r>
              <a:r>
                <a:rPr lang="zh-CN" altLang="en-US" sz="1200" b="1" u="sng" spc="-5" dirty="0">
                  <a:solidFill>
                    <a:srgbClr val="EB842C"/>
                  </a:solidFill>
                  <a:latin typeface="+mn-ea"/>
                  <a:cs typeface="+mn-ea"/>
                  <a:sym typeface="+mn-lt"/>
                </a:rPr>
                <a:t>心血管风险而生</a:t>
              </a:r>
              <a:endParaRPr lang="zh-CN" altLang="en-US" sz="1200" b="1" u="sng" dirty="0">
                <a:solidFill>
                  <a:srgbClr val="EB842C"/>
                </a:solidFill>
                <a:latin typeface="+mn-ea"/>
              </a:endParaRPr>
            </a:p>
          </p:txBody>
        </p:sp>
      </p:grpSp>
      <p:sp>
        <p:nvSpPr>
          <p:cNvPr id="30" name="矩形 29">
            <a:extLst>
              <a:ext uri="{FF2B5EF4-FFF2-40B4-BE49-F238E27FC236}">
                <a16:creationId xmlns:a16="http://schemas.microsoft.com/office/drawing/2014/main" id="{6FFCDCCD-3198-49BA-9EC9-5990EB4AD1F7}"/>
              </a:ext>
            </a:extLst>
          </p:cNvPr>
          <p:cNvSpPr/>
          <p:nvPr/>
        </p:nvSpPr>
        <p:spPr>
          <a:xfrm>
            <a:off x="8881936" y="2112057"/>
            <a:ext cx="2916197" cy="29621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>
                <a:solidFill>
                  <a:schemeClr val="bg1"/>
                </a:solidFill>
                <a:latin typeface="+mn-ea"/>
              </a:rPr>
              <a:t>三大权威指南一致推荐</a:t>
            </a:r>
            <a:endParaRPr 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DEBEE110-08E5-47B8-8595-CC653571A7A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73569" y="423688"/>
            <a:ext cx="10067925" cy="850900"/>
          </a:xfrm>
        </p:spPr>
        <p:txBody>
          <a:bodyPr vert="horz"/>
          <a:lstStyle/>
          <a:p>
            <a:r>
              <a:rPr lang="zh-CN" altLang="en-US" sz="28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药品基本信息</a:t>
            </a:r>
            <a:endParaRPr lang="zh-CN" altLang="en-US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08" name="等腰三角形 107">
            <a:extLst>
              <a:ext uri="{FF2B5EF4-FFF2-40B4-BE49-F238E27FC236}">
                <a16:creationId xmlns:a16="http://schemas.microsoft.com/office/drawing/2014/main" id="{2787FF77-5E24-44B5-B87B-7AFD81100008}"/>
              </a:ext>
            </a:extLst>
          </p:cNvPr>
          <p:cNvSpPr/>
          <p:nvPr/>
        </p:nvSpPr>
        <p:spPr>
          <a:xfrm flipH="1" flipV="1">
            <a:off x="4241165" y="4292753"/>
            <a:ext cx="3930684" cy="305575"/>
          </a:xfrm>
          <a:prstGeom prst="triangle">
            <a:avLst/>
          </a:prstGeom>
          <a:solidFill>
            <a:schemeClr val="bg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kern="600" spc="30" dirty="0" err="1"/>
          </a:p>
        </p:txBody>
      </p:sp>
      <p:sp>
        <p:nvSpPr>
          <p:cNvPr id="137" name="ïŝľíḑé">
            <a:extLst>
              <a:ext uri="{FF2B5EF4-FFF2-40B4-BE49-F238E27FC236}">
                <a16:creationId xmlns:a16="http://schemas.microsoft.com/office/drawing/2014/main" id="{5407BE8F-D592-47C4-8226-A007EE5C9DE3}"/>
              </a:ext>
            </a:extLst>
          </p:cNvPr>
          <p:cNvSpPr txBox="1"/>
          <p:nvPr/>
        </p:nvSpPr>
        <p:spPr>
          <a:xfrm>
            <a:off x="899779" y="1533277"/>
            <a:ext cx="25811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2000" b="1" dirty="0">
                <a:solidFill>
                  <a:srgbClr val="00857C"/>
                </a:solidFill>
                <a:cs typeface="+mn-ea"/>
                <a:sym typeface="+mn-lt"/>
              </a:rPr>
              <a:t>疾病现状</a:t>
            </a:r>
            <a:endParaRPr lang="en-US" altLang="zh-CN" sz="2000" b="1" dirty="0">
              <a:solidFill>
                <a:srgbClr val="00857C"/>
              </a:solidFill>
              <a:cs typeface="+mn-ea"/>
              <a:sym typeface="+mn-lt"/>
            </a:endParaRPr>
          </a:p>
        </p:txBody>
      </p:sp>
      <p:sp>
        <p:nvSpPr>
          <p:cNvPr id="138" name="iṩ1iḓé">
            <a:extLst>
              <a:ext uri="{FF2B5EF4-FFF2-40B4-BE49-F238E27FC236}">
                <a16:creationId xmlns:a16="http://schemas.microsoft.com/office/drawing/2014/main" id="{068A3FAE-494B-46DB-ACA9-9B4E10CC1458}"/>
              </a:ext>
            </a:extLst>
          </p:cNvPr>
          <p:cNvSpPr txBox="1"/>
          <p:nvPr/>
        </p:nvSpPr>
        <p:spPr>
          <a:xfrm>
            <a:off x="-397962" y="1936824"/>
            <a:ext cx="2467497" cy="281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zh-CN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39" name="ïŝľíḑé">
            <a:extLst>
              <a:ext uri="{FF2B5EF4-FFF2-40B4-BE49-F238E27FC236}">
                <a16:creationId xmlns:a16="http://schemas.microsoft.com/office/drawing/2014/main" id="{7E9B40CD-FE5E-43A6-AD51-BF5CA89C3029}"/>
              </a:ext>
            </a:extLst>
          </p:cNvPr>
          <p:cNvSpPr txBox="1"/>
          <p:nvPr/>
        </p:nvSpPr>
        <p:spPr>
          <a:xfrm>
            <a:off x="4802102" y="1507844"/>
            <a:ext cx="28608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2000" b="1" dirty="0">
                <a:solidFill>
                  <a:srgbClr val="00857C"/>
                </a:solidFill>
                <a:cs typeface="+mn-ea"/>
                <a:sym typeface="+mn-lt"/>
              </a:rPr>
              <a:t>疾病挑战</a:t>
            </a:r>
            <a:endParaRPr lang="en-US" altLang="zh-CN" sz="2000" b="1" dirty="0">
              <a:solidFill>
                <a:srgbClr val="00857C"/>
              </a:solidFill>
              <a:cs typeface="+mn-ea"/>
              <a:sym typeface="+mn-lt"/>
            </a:endParaRPr>
          </a:p>
        </p:txBody>
      </p:sp>
      <p:sp>
        <p:nvSpPr>
          <p:cNvPr id="136" name="awareness-ribbon_63681">
            <a:extLst>
              <a:ext uri="{FF2B5EF4-FFF2-40B4-BE49-F238E27FC236}">
                <a16:creationId xmlns:a16="http://schemas.microsoft.com/office/drawing/2014/main" id="{BE7E172F-8657-46AF-BCE9-B6898D761D9B}"/>
              </a:ext>
            </a:extLst>
          </p:cNvPr>
          <p:cNvSpPr/>
          <p:nvPr/>
        </p:nvSpPr>
        <p:spPr>
          <a:xfrm>
            <a:off x="1195287" y="1573359"/>
            <a:ext cx="252434" cy="319945"/>
          </a:xfrm>
          <a:custGeom>
            <a:avLst/>
            <a:gdLst>
              <a:gd name="connsiteX0" fmla="*/ 331206 w 479282"/>
              <a:gd name="connsiteY0" fmla="*/ 318391 h 607460"/>
              <a:gd name="connsiteX1" fmla="*/ 474732 w 479282"/>
              <a:gd name="connsiteY1" fmla="*/ 493654 h 607460"/>
              <a:gd name="connsiteX2" fmla="*/ 473900 w 479282"/>
              <a:gd name="connsiteY2" fmla="*/ 520518 h 607460"/>
              <a:gd name="connsiteX3" fmla="*/ 401564 w 479282"/>
              <a:gd name="connsiteY3" fmla="*/ 600641 h 607460"/>
              <a:gd name="connsiteX4" fmla="*/ 369091 w 479282"/>
              <a:gd name="connsiteY4" fmla="*/ 598615 h 607460"/>
              <a:gd name="connsiteX5" fmla="*/ 254707 w 479282"/>
              <a:gd name="connsiteY5" fmla="*/ 434055 h 607460"/>
              <a:gd name="connsiteX6" fmla="*/ 239637 w 479282"/>
              <a:gd name="connsiteY6" fmla="*/ 0 h 607460"/>
              <a:gd name="connsiteX7" fmla="*/ 323099 w 479282"/>
              <a:gd name="connsiteY7" fmla="*/ 28424 h 607460"/>
              <a:gd name="connsiteX8" fmla="*/ 329655 w 479282"/>
              <a:gd name="connsiteY8" fmla="*/ 36738 h 607460"/>
              <a:gd name="connsiteX9" fmla="*/ 364778 w 479282"/>
              <a:gd name="connsiteY9" fmla="*/ 218297 h 607460"/>
              <a:gd name="connsiteX10" fmla="*/ 361396 w 479282"/>
              <a:gd name="connsiteY10" fmla="*/ 231184 h 607460"/>
              <a:gd name="connsiteX11" fmla="*/ 110178 w 479282"/>
              <a:gd name="connsiteY11" fmla="*/ 598562 h 607460"/>
              <a:gd name="connsiteX12" fmla="*/ 77709 w 479282"/>
              <a:gd name="connsiteY12" fmla="*/ 600537 h 607460"/>
              <a:gd name="connsiteX13" fmla="*/ 5383 w 479282"/>
              <a:gd name="connsiteY13" fmla="*/ 520514 h 607460"/>
              <a:gd name="connsiteX14" fmla="*/ 4550 w 479282"/>
              <a:gd name="connsiteY14" fmla="*/ 493649 h 607460"/>
              <a:gd name="connsiteX15" fmla="*/ 241979 w 479282"/>
              <a:gd name="connsiteY15" fmla="*/ 188314 h 607460"/>
              <a:gd name="connsiteX16" fmla="*/ 286363 w 479282"/>
              <a:gd name="connsiteY16" fmla="*/ 131207 h 607460"/>
              <a:gd name="connsiteX17" fmla="*/ 278818 w 479282"/>
              <a:gd name="connsiteY17" fmla="*/ 109278 h 607460"/>
              <a:gd name="connsiteX18" fmla="*/ 239637 w 479282"/>
              <a:gd name="connsiteY18" fmla="*/ 105017 h 607460"/>
              <a:gd name="connsiteX19" fmla="*/ 199363 w 479282"/>
              <a:gd name="connsiteY19" fmla="*/ 109538 h 607460"/>
              <a:gd name="connsiteX20" fmla="*/ 191662 w 479282"/>
              <a:gd name="connsiteY20" fmla="*/ 130947 h 607460"/>
              <a:gd name="connsiteX21" fmla="*/ 220385 w 479282"/>
              <a:gd name="connsiteY21" fmla="*/ 171322 h 607460"/>
              <a:gd name="connsiteX22" fmla="*/ 144416 w 479282"/>
              <a:gd name="connsiteY22" fmla="*/ 270883 h 607460"/>
              <a:gd name="connsiteX23" fmla="*/ 117931 w 479282"/>
              <a:gd name="connsiteY23" fmla="*/ 231288 h 607460"/>
              <a:gd name="connsiteX24" fmla="*/ 114445 w 479282"/>
              <a:gd name="connsiteY24" fmla="*/ 218297 h 607460"/>
              <a:gd name="connsiteX25" fmla="*/ 149567 w 479282"/>
              <a:gd name="connsiteY25" fmla="*/ 36738 h 607460"/>
              <a:gd name="connsiteX26" fmla="*/ 156176 w 479282"/>
              <a:gd name="connsiteY26" fmla="*/ 28424 h 607460"/>
              <a:gd name="connsiteX27" fmla="*/ 239637 w 479282"/>
              <a:gd name="connsiteY27" fmla="*/ 0 h 607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79282" h="607460">
                <a:moveTo>
                  <a:pt x="331206" y="318391"/>
                </a:moveTo>
                <a:lnTo>
                  <a:pt x="474732" y="493654"/>
                </a:lnTo>
                <a:cubicBezTo>
                  <a:pt x="481081" y="501552"/>
                  <a:pt x="480769" y="512984"/>
                  <a:pt x="473900" y="520518"/>
                </a:cubicBezTo>
                <a:lnTo>
                  <a:pt x="401564" y="600641"/>
                </a:lnTo>
                <a:cubicBezTo>
                  <a:pt x="392613" y="610462"/>
                  <a:pt x="376793" y="609579"/>
                  <a:pt x="369091" y="598615"/>
                </a:cubicBezTo>
                <a:lnTo>
                  <a:pt x="254707" y="434055"/>
                </a:lnTo>
                <a:close/>
                <a:moveTo>
                  <a:pt x="239637" y="0"/>
                </a:moveTo>
                <a:cubicBezTo>
                  <a:pt x="280640" y="0"/>
                  <a:pt x="311964" y="20162"/>
                  <a:pt x="323099" y="28424"/>
                </a:cubicBezTo>
                <a:cubicBezTo>
                  <a:pt x="325909" y="30554"/>
                  <a:pt x="328198" y="33412"/>
                  <a:pt x="329655" y="36738"/>
                </a:cubicBezTo>
                <a:cubicBezTo>
                  <a:pt x="354787" y="93585"/>
                  <a:pt x="362957" y="191276"/>
                  <a:pt x="364778" y="218297"/>
                </a:cubicBezTo>
                <a:cubicBezTo>
                  <a:pt x="365142" y="222870"/>
                  <a:pt x="363893" y="227390"/>
                  <a:pt x="361396" y="231184"/>
                </a:cubicBezTo>
                <a:lnTo>
                  <a:pt x="110178" y="598562"/>
                </a:lnTo>
                <a:cubicBezTo>
                  <a:pt x="102477" y="609475"/>
                  <a:pt x="86659" y="610462"/>
                  <a:pt x="77709" y="600537"/>
                </a:cubicBezTo>
                <a:lnTo>
                  <a:pt x="5383" y="520514"/>
                </a:lnTo>
                <a:cubicBezTo>
                  <a:pt x="-1486" y="512979"/>
                  <a:pt x="-1798" y="501599"/>
                  <a:pt x="4550" y="493649"/>
                </a:cubicBezTo>
                <a:lnTo>
                  <a:pt x="241979" y="188314"/>
                </a:lnTo>
                <a:lnTo>
                  <a:pt x="286363" y="131207"/>
                </a:lnTo>
                <a:cubicBezTo>
                  <a:pt x="292555" y="123308"/>
                  <a:pt x="288549" y="111773"/>
                  <a:pt x="278818" y="109278"/>
                </a:cubicBezTo>
                <a:cubicBezTo>
                  <a:pt x="259410" y="104186"/>
                  <a:pt x="239637" y="105017"/>
                  <a:pt x="239637" y="105017"/>
                </a:cubicBezTo>
                <a:cubicBezTo>
                  <a:pt x="239637" y="105017"/>
                  <a:pt x="219084" y="104186"/>
                  <a:pt x="199363" y="109538"/>
                </a:cubicBezTo>
                <a:cubicBezTo>
                  <a:pt x="189997" y="112032"/>
                  <a:pt x="186147" y="123100"/>
                  <a:pt x="191662" y="130947"/>
                </a:cubicBezTo>
                <a:lnTo>
                  <a:pt x="220385" y="171322"/>
                </a:lnTo>
                <a:lnTo>
                  <a:pt x="144416" y="270883"/>
                </a:lnTo>
                <a:lnTo>
                  <a:pt x="117931" y="231288"/>
                </a:lnTo>
                <a:cubicBezTo>
                  <a:pt x="115381" y="227442"/>
                  <a:pt x="114185" y="222870"/>
                  <a:pt x="114445" y="218297"/>
                </a:cubicBezTo>
                <a:cubicBezTo>
                  <a:pt x="116318" y="191380"/>
                  <a:pt x="124539" y="93689"/>
                  <a:pt x="149567" y="36738"/>
                </a:cubicBezTo>
                <a:cubicBezTo>
                  <a:pt x="151024" y="33464"/>
                  <a:pt x="153262" y="30554"/>
                  <a:pt x="156176" y="28424"/>
                </a:cubicBezTo>
                <a:cubicBezTo>
                  <a:pt x="167259" y="20162"/>
                  <a:pt x="198635" y="0"/>
                  <a:pt x="239637" y="0"/>
                </a:cubicBezTo>
                <a:close/>
              </a:path>
            </a:pathLst>
          </a:cu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11" name="文本框 21">
            <a:extLst>
              <a:ext uri="{FF2B5EF4-FFF2-40B4-BE49-F238E27FC236}">
                <a16:creationId xmlns:a16="http://schemas.microsoft.com/office/drawing/2014/main" id="{7319DE68-6D96-4EF1-A505-D8FA0A1BF453}"/>
              </a:ext>
            </a:extLst>
          </p:cNvPr>
          <p:cNvSpPr txBox="1"/>
          <p:nvPr/>
        </p:nvSpPr>
        <p:spPr>
          <a:xfrm>
            <a:off x="233202" y="2040664"/>
            <a:ext cx="3598220" cy="403001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v"/>
            </a:pPr>
            <a:r>
              <a:rPr lang="zh-CN" altLang="en-US" sz="1200" kern="100" dirty="0">
                <a:latin typeface="+mn-ea"/>
                <a:cs typeface="+mn-ea"/>
                <a:sym typeface="+mn-lt"/>
              </a:rPr>
              <a:t>艾滋病是国家甲类法定传染病，中国艾滋病感染人数超</a:t>
            </a:r>
            <a:r>
              <a:rPr lang="en-US" altLang="zh-CN" sz="1600" b="1" kern="100" dirty="0">
                <a:solidFill>
                  <a:srgbClr val="EB842C"/>
                </a:solidFill>
                <a:latin typeface="+mn-ea"/>
                <a:cs typeface="+mn-ea"/>
                <a:sym typeface="+mn-lt"/>
              </a:rPr>
              <a:t>105</a:t>
            </a:r>
            <a:r>
              <a:rPr lang="zh-CN" altLang="en-US" sz="1600" b="1" kern="100" dirty="0">
                <a:solidFill>
                  <a:srgbClr val="EB842C"/>
                </a:solidFill>
                <a:latin typeface="+mn-ea"/>
                <a:cs typeface="+mn-ea"/>
                <a:sym typeface="+mn-lt"/>
              </a:rPr>
              <a:t>万</a:t>
            </a:r>
            <a:r>
              <a:rPr lang="zh-CN" altLang="en-US" sz="1200" kern="100" dirty="0">
                <a:latin typeface="+mn-ea"/>
                <a:cs typeface="+mn-ea"/>
                <a:sym typeface="+mn-lt"/>
              </a:rPr>
              <a:t>，</a:t>
            </a:r>
            <a:r>
              <a:rPr lang="en-US" altLang="zh-CN" sz="1200" kern="100" dirty="0">
                <a:latin typeface="+mn-ea"/>
                <a:cs typeface="+mn-ea"/>
                <a:sym typeface="+mn-lt"/>
              </a:rPr>
              <a:t>2021</a:t>
            </a:r>
            <a:r>
              <a:rPr lang="zh-CN" altLang="en-US" sz="1200" kern="100" dirty="0">
                <a:latin typeface="+mn-ea"/>
                <a:cs typeface="+mn-ea"/>
                <a:sym typeface="+mn-lt"/>
              </a:rPr>
              <a:t>年全国报告艾滋病发病人数为</a:t>
            </a:r>
            <a:r>
              <a:rPr lang="en-US" altLang="zh-CN" sz="1200" kern="100" dirty="0">
                <a:latin typeface="+mn-ea"/>
                <a:cs typeface="+mn-ea"/>
                <a:sym typeface="+mn-lt"/>
              </a:rPr>
              <a:t>60154</a:t>
            </a:r>
            <a:r>
              <a:rPr lang="zh-CN" altLang="en-US" sz="1200" kern="100" dirty="0">
                <a:latin typeface="+mn-ea"/>
                <a:cs typeface="+mn-ea"/>
                <a:sym typeface="+mn-lt"/>
              </a:rPr>
              <a:t>人</a:t>
            </a:r>
            <a:r>
              <a:rPr lang="en-US" altLang="zh-CN" sz="1200" kern="100" baseline="30000" dirty="0">
                <a:latin typeface="+mn-ea"/>
                <a:cs typeface="+mn-ea"/>
                <a:sym typeface="+mn-lt"/>
              </a:rPr>
              <a:t>1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altLang="zh-CN" sz="1200" kern="100" baseline="30000" dirty="0">
              <a:latin typeface="+mn-ea"/>
              <a:cs typeface="+mn-ea"/>
              <a:sym typeface="+mn-lt"/>
            </a:endParaRPr>
          </a:p>
          <a:p>
            <a:pPr marL="285750" indent="-285750" algn="just">
              <a:lnSpc>
                <a:spcPct val="150000"/>
              </a:lnSpc>
              <a:buClr>
                <a:srgbClr val="00857C"/>
              </a:buClr>
              <a:buFont typeface="Wingdings" panose="05000000000000000000" pitchFamily="2" charset="2"/>
              <a:buChar char="v"/>
            </a:pPr>
            <a:r>
              <a:rPr lang="en-US" altLang="zh-CN" sz="1200" dirty="0">
                <a:latin typeface="+mn-ea"/>
              </a:rPr>
              <a:t>2NRTI+NNRTIs</a:t>
            </a:r>
            <a:r>
              <a:rPr lang="zh-CN" altLang="en-US" sz="1200" dirty="0">
                <a:latin typeface="+mn-ea"/>
              </a:rPr>
              <a:t>是我国约</a:t>
            </a:r>
            <a:r>
              <a:rPr lang="zh-CN" altLang="en-US" sz="1600" b="1" dirty="0">
                <a:solidFill>
                  <a:srgbClr val="EB842C"/>
                </a:solidFill>
                <a:latin typeface="+mn-ea"/>
              </a:rPr>
              <a:t>六成</a:t>
            </a:r>
            <a:r>
              <a:rPr lang="en-US" altLang="zh-CN" sz="1200" b="1" dirty="0">
                <a:solidFill>
                  <a:schemeClr val="accent1"/>
                </a:solidFill>
                <a:latin typeface="+mn-ea"/>
              </a:rPr>
              <a:t>HIV</a:t>
            </a:r>
            <a:r>
              <a:rPr lang="zh-CN" altLang="en-US" sz="1200" b="1" dirty="0">
                <a:solidFill>
                  <a:schemeClr val="accent1"/>
                </a:solidFill>
                <a:latin typeface="+mn-ea"/>
              </a:rPr>
              <a:t>感染者的治疗方案</a:t>
            </a:r>
            <a:r>
              <a:rPr lang="en-US" altLang="zh-CN" sz="1200" baseline="30000" dirty="0">
                <a:latin typeface="+mn-ea"/>
              </a:rPr>
              <a:t>2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altLang="zh-CN" sz="1200" kern="100" baseline="30000" dirty="0">
              <a:latin typeface="+mn-ea"/>
              <a:cs typeface="+mn-ea"/>
              <a:sym typeface="+mn-lt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altLang="zh-CN" sz="1200" kern="100" baseline="30000" dirty="0">
              <a:latin typeface="+mn-ea"/>
              <a:cs typeface="+mn-ea"/>
              <a:sym typeface="+mn-lt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altLang="zh-CN" sz="1200" kern="100" baseline="30000" dirty="0">
              <a:latin typeface="+mn-ea"/>
              <a:cs typeface="+mn-ea"/>
              <a:sym typeface="+mn-lt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altLang="zh-CN" sz="1200" kern="100" baseline="30000" dirty="0">
              <a:latin typeface="+mn-ea"/>
              <a:cs typeface="+mn-ea"/>
              <a:sym typeface="+mn-lt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altLang="zh-CN" sz="1200" kern="100" baseline="30000" dirty="0">
              <a:latin typeface="+mn-ea"/>
              <a:cs typeface="+mn-ea"/>
              <a:sym typeface="+mn-lt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altLang="zh-CN" sz="1200" kern="100" baseline="30000" dirty="0">
              <a:latin typeface="+mn-ea"/>
              <a:cs typeface="+mn-ea"/>
              <a:sym typeface="+mn-lt"/>
            </a:endParaRPr>
          </a:p>
          <a:p>
            <a:pPr algn="just">
              <a:lnSpc>
                <a:spcPct val="150000"/>
              </a:lnSpc>
            </a:pPr>
            <a:endParaRPr lang="en-US" altLang="zh-CN" sz="1200" kern="100" dirty="0">
              <a:latin typeface="+mn-ea"/>
              <a:cs typeface="+mn-ea"/>
              <a:sym typeface="+mn-lt"/>
            </a:endParaRPr>
          </a:p>
          <a:p>
            <a:pPr marL="285750" indent="-285750" algn="just">
              <a:lnSpc>
                <a:spcPct val="150000"/>
              </a:lnSpc>
              <a:buClr>
                <a:srgbClr val="00857C"/>
              </a:buClr>
              <a:buFont typeface="Wingdings" panose="05000000000000000000" pitchFamily="2" charset="2"/>
              <a:buChar char="v"/>
            </a:pPr>
            <a:r>
              <a:rPr lang="zh-CN" altLang="en-US" sz="1200" kern="100" dirty="0">
                <a:latin typeface="+mn-ea"/>
                <a:cs typeface="+mn-ea"/>
                <a:sym typeface="+mn-lt"/>
              </a:rPr>
              <a:t>现有</a:t>
            </a:r>
            <a:r>
              <a:rPr lang="en-US" altLang="zh-CN" sz="1200" kern="100" dirty="0">
                <a:latin typeface="+mn-ea"/>
                <a:cs typeface="+mn-ea"/>
                <a:sym typeface="+mn-lt"/>
              </a:rPr>
              <a:t>NNRTI</a:t>
            </a:r>
            <a:r>
              <a:rPr lang="zh-CN" altLang="en-US" sz="1200" kern="100" dirty="0">
                <a:latin typeface="+mn-ea"/>
                <a:cs typeface="+mn-ea"/>
                <a:sym typeface="+mn-lt"/>
              </a:rPr>
              <a:t>类药物</a:t>
            </a:r>
            <a:r>
              <a:rPr lang="zh-CN" altLang="en-US" sz="1200" b="1" kern="100" dirty="0">
                <a:solidFill>
                  <a:schemeClr val="accent1"/>
                </a:solidFill>
                <a:latin typeface="+mn-ea"/>
                <a:cs typeface="+mn-ea"/>
                <a:sym typeface="+mn-lt"/>
              </a:rPr>
              <a:t>神经精神等不良事件发生率较高，耐药屏障较低</a:t>
            </a:r>
            <a:r>
              <a:rPr lang="zh-CN" altLang="en-US" sz="1200" kern="100" dirty="0">
                <a:latin typeface="+mn-ea"/>
                <a:cs typeface="+mn-ea"/>
                <a:sym typeface="+mn-lt"/>
              </a:rPr>
              <a:t>，导致部分患者无法耐受</a:t>
            </a:r>
            <a:endParaRPr lang="en-US" altLang="zh-CN" sz="1200" kern="100" dirty="0">
              <a:latin typeface="+mn-ea"/>
              <a:cs typeface="+mn-ea"/>
              <a:sym typeface="+mn-lt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altLang="zh-CN" sz="1200" b="1" kern="100" dirty="0">
              <a:solidFill>
                <a:srgbClr val="BC6610"/>
              </a:solidFill>
              <a:latin typeface="+mn-ea"/>
              <a:cs typeface="+mn-ea"/>
              <a:sym typeface="+mn-lt"/>
            </a:endParaRPr>
          </a:p>
        </p:txBody>
      </p:sp>
      <p:graphicFrame>
        <p:nvGraphicFramePr>
          <p:cNvPr id="112" name="内容占位符 5">
            <a:extLst>
              <a:ext uri="{FF2B5EF4-FFF2-40B4-BE49-F238E27FC236}">
                <a16:creationId xmlns:a16="http://schemas.microsoft.com/office/drawing/2014/main" id="{E8D1D085-F5ED-4657-81E7-80B1FE19F56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69838235"/>
              </p:ext>
            </p:extLst>
          </p:nvPr>
        </p:nvGraphicFramePr>
        <p:xfrm>
          <a:off x="-1775238" y="3803140"/>
          <a:ext cx="5407878" cy="14106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3" name="文本框 28">
            <a:extLst>
              <a:ext uri="{FF2B5EF4-FFF2-40B4-BE49-F238E27FC236}">
                <a16:creationId xmlns:a16="http://schemas.microsoft.com/office/drawing/2014/main" id="{3A4A6CC4-D1F8-4BBA-A76C-3F82B640467F}"/>
              </a:ext>
            </a:extLst>
          </p:cNvPr>
          <p:cNvSpPr txBox="1"/>
          <p:nvPr/>
        </p:nvSpPr>
        <p:spPr>
          <a:xfrm>
            <a:off x="984137" y="4830745"/>
            <a:ext cx="304558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0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（</a:t>
            </a:r>
            <a:r>
              <a:rPr lang="en-US" altLang="zh-CN" sz="10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=600</a:t>
            </a:r>
            <a:r>
              <a:rPr lang="zh-CN" altLang="en-US" sz="10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，受试者来自全国</a:t>
            </a:r>
            <a:r>
              <a:rPr lang="en-US" altLang="zh-CN" sz="10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</a:t>
            </a:r>
            <a:r>
              <a:rPr lang="zh-CN" altLang="en-US" sz="10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个省份</a:t>
            </a:r>
            <a:r>
              <a:rPr lang="en-US" altLang="zh-CN" sz="1000" i="1" baseline="30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3</a:t>
            </a:r>
            <a:r>
              <a:rPr lang="zh-CN" altLang="en-US" sz="1000" i="1" baseline="30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）</a:t>
            </a:r>
            <a:endParaRPr lang="en-US" altLang="zh-CN" sz="1000" i="1" baseline="30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14" name="iSḷiḍé">
            <a:extLst>
              <a:ext uri="{FF2B5EF4-FFF2-40B4-BE49-F238E27FC236}">
                <a16:creationId xmlns:a16="http://schemas.microsoft.com/office/drawing/2014/main" id="{26594633-7BC9-47A4-8BC9-4BF8F10ECBD4}"/>
              </a:ext>
            </a:extLst>
          </p:cNvPr>
          <p:cNvSpPr/>
          <p:nvPr/>
        </p:nvSpPr>
        <p:spPr>
          <a:xfrm>
            <a:off x="4954955" y="1410813"/>
            <a:ext cx="452577" cy="461666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543819" h="554739">
                <a:moveTo>
                  <a:pt x="439939" y="159970"/>
                </a:moveTo>
                <a:cubicBezTo>
                  <a:pt x="489094" y="156925"/>
                  <a:pt x="536455" y="182004"/>
                  <a:pt x="542913" y="253657"/>
                </a:cubicBezTo>
                <a:cubicBezTo>
                  <a:pt x="560135" y="438523"/>
                  <a:pt x="326201" y="546003"/>
                  <a:pt x="326201" y="546003"/>
                </a:cubicBezTo>
                <a:cubicBezTo>
                  <a:pt x="326201" y="546003"/>
                  <a:pt x="313285" y="540271"/>
                  <a:pt x="294627" y="530239"/>
                </a:cubicBezTo>
                <a:cubicBezTo>
                  <a:pt x="317590" y="507310"/>
                  <a:pt x="333377" y="472917"/>
                  <a:pt x="341988" y="421326"/>
                </a:cubicBezTo>
                <a:cubicBezTo>
                  <a:pt x="372127" y="414161"/>
                  <a:pt x="395090" y="385499"/>
                  <a:pt x="395090" y="352539"/>
                </a:cubicBezTo>
                <a:cubicBezTo>
                  <a:pt x="395090" y="315279"/>
                  <a:pt x="364951" y="283752"/>
                  <a:pt x="326201" y="283752"/>
                </a:cubicBezTo>
                <a:cubicBezTo>
                  <a:pt x="287451" y="283752"/>
                  <a:pt x="255878" y="315279"/>
                  <a:pt x="255878" y="352539"/>
                </a:cubicBezTo>
                <a:cubicBezTo>
                  <a:pt x="255878" y="382633"/>
                  <a:pt x="274535" y="408429"/>
                  <a:pt x="300368" y="418460"/>
                </a:cubicBezTo>
                <a:cubicBezTo>
                  <a:pt x="294627" y="454287"/>
                  <a:pt x="283146" y="487247"/>
                  <a:pt x="258748" y="507310"/>
                </a:cubicBezTo>
                <a:cubicBezTo>
                  <a:pt x="207081" y="471484"/>
                  <a:pt x="141063" y="412728"/>
                  <a:pt x="116665" y="333909"/>
                </a:cubicBezTo>
                <a:cubicBezTo>
                  <a:pt x="123841" y="323878"/>
                  <a:pt x="129582" y="310980"/>
                  <a:pt x="132452" y="295216"/>
                </a:cubicBezTo>
                <a:cubicBezTo>
                  <a:pt x="181248" y="286618"/>
                  <a:pt x="218563" y="243626"/>
                  <a:pt x="218563" y="193468"/>
                </a:cubicBezTo>
                <a:cubicBezTo>
                  <a:pt x="218563" y="187736"/>
                  <a:pt x="217128" y="182004"/>
                  <a:pt x="212822" y="177704"/>
                </a:cubicBezTo>
                <a:lnTo>
                  <a:pt x="215693" y="160508"/>
                </a:lnTo>
                <a:cubicBezTo>
                  <a:pt x="263053" y="164807"/>
                  <a:pt x="311849" y="194901"/>
                  <a:pt x="326201" y="235027"/>
                </a:cubicBezTo>
                <a:cubicBezTo>
                  <a:pt x="339835" y="194185"/>
                  <a:pt x="390784" y="163016"/>
                  <a:pt x="439939" y="159970"/>
                </a:cubicBezTo>
                <a:close/>
                <a:moveTo>
                  <a:pt x="57641" y="0"/>
                </a:moveTo>
                <a:cubicBezTo>
                  <a:pt x="69125" y="0"/>
                  <a:pt x="79174" y="10034"/>
                  <a:pt x="79174" y="21502"/>
                </a:cubicBezTo>
                <a:cubicBezTo>
                  <a:pt x="79174" y="32969"/>
                  <a:pt x="69125" y="43003"/>
                  <a:pt x="57641" y="43003"/>
                </a:cubicBezTo>
                <a:cubicBezTo>
                  <a:pt x="51899" y="43003"/>
                  <a:pt x="46157" y="40136"/>
                  <a:pt x="43286" y="35836"/>
                </a:cubicBezTo>
                <a:lnTo>
                  <a:pt x="24624" y="44437"/>
                </a:lnTo>
                <a:lnTo>
                  <a:pt x="41850" y="180613"/>
                </a:lnTo>
                <a:cubicBezTo>
                  <a:pt x="47592" y="182046"/>
                  <a:pt x="50463" y="187780"/>
                  <a:pt x="50463" y="193514"/>
                </a:cubicBezTo>
                <a:cubicBezTo>
                  <a:pt x="50463" y="227916"/>
                  <a:pt x="79174" y="255152"/>
                  <a:pt x="113626" y="255152"/>
                </a:cubicBezTo>
                <a:cubicBezTo>
                  <a:pt x="148078" y="255152"/>
                  <a:pt x="175353" y="227916"/>
                  <a:pt x="175353" y="193514"/>
                </a:cubicBezTo>
                <a:cubicBezTo>
                  <a:pt x="175353" y="187780"/>
                  <a:pt x="179660" y="182046"/>
                  <a:pt x="183966" y="180613"/>
                </a:cubicBezTo>
                <a:lnTo>
                  <a:pt x="201192" y="44437"/>
                </a:lnTo>
                <a:lnTo>
                  <a:pt x="183966" y="35836"/>
                </a:lnTo>
                <a:cubicBezTo>
                  <a:pt x="179660" y="40136"/>
                  <a:pt x="175353" y="43003"/>
                  <a:pt x="168176" y="43003"/>
                </a:cubicBezTo>
                <a:cubicBezTo>
                  <a:pt x="156691" y="43003"/>
                  <a:pt x="148078" y="32969"/>
                  <a:pt x="148078" y="21502"/>
                </a:cubicBezTo>
                <a:cubicBezTo>
                  <a:pt x="148078" y="10034"/>
                  <a:pt x="156691" y="0"/>
                  <a:pt x="168176" y="0"/>
                </a:cubicBezTo>
                <a:cubicBezTo>
                  <a:pt x="181095" y="0"/>
                  <a:pt x="189708" y="10034"/>
                  <a:pt x="189708" y="21502"/>
                </a:cubicBezTo>
                <a:cubicBezTo>
                  <a:pt x="189708" y="21502"/>
                  <a:pt x="189708" y="21502"/>
                  <a:pt x="189708" y="22935"/>
                </a:cubicBezTo>
                <a:lnTo>
                  <a:pt x="212677" y="34403"/>
                </a:lnTo>
                <a:cubicBezTo>
                  <a:pt x="215548" y="35836"/>
                  <a:pt x="216983" y="38703"/>
                  <a:pt x="215548" y="41570"/>
                </a:cubicBezTo>
                <a:lnTo>
                  <a:pt x="198321" y="182046"/>
                </a:lnTo>
                <a:cubicBezTo>
                  <a:pt x="201192" y="184913"/>
                  <a:pt x="204063" y="189214"/>
                  <a:pt x="204063" y="193514"/>
                </a:cubicBezTo>
                <a:cubicBezTo>
                  <a:pt x="204063" y="240817"/>
                  <a:pt x="166740" y="279520"/>
                  <a:pt x="119368" y="283820"/>
                </a:cubicBezTo>
                <a:cubicBezTo>
                  <a:pt x="115062" y="333990"/>
                  <a:pt x="82045" y="355492"/>
                  <a:pt x="56205" y="374127"/>
                </a:cubicBezTo>
                <a:cubicBezTo>
                  <a:pt x="31802" y="391328"/>
                  <a:pt x="11704" y="404229"/>
                  <a:pt x="14575" y="432897"/>
                </a:cubicBezTo>
                <a:cubicBezTo>
                  <a:pt x="23189" y="544705"/>
                  <a:pt x="94964" y="543272"/>
                  <a:pt x="169611" y="540405"/>
                </a:cubicBezTo>
                <a:cubicBezTo>
                  <a:pt x="181095" y="540405"/>
                  <a:pt x="191144" y="538971"/>
                  <a:pt x="201192" y="538971"/>
                </a:cubicBezTo>
                <a:cubicBezTo>
                  <a:pt x="293065" y="538971"/>
                  <a:pt x="313163" y="454399"/>
                  <a:pt x="317469" y="394195"/>
                </a:cubicBezTo>
                <a:cubicBezTo>
                  <a:pt x="298807" y="389894"/>
                  <a:pt x="283017" y="374127"/>
                  <a:pt x="283017" y="352625"/>
                </a:cubicBezTo>
                <a:cubicBezTo>
                  <a:pt x="283017" y="329690"/>
                  <a:pt x="303114" y="311055"/>
                  <a:pt x="326082" y="311055"/>
                </a:cubicBezTo>
                <a:cubicBezTo>
                  <a:pt x="349051" y="311055"/>
                  <a:pt x="367712" y="329690"/>
                  <a:pt x="367712" y="352625"/>
                </a:cubicBezTo>
                <a:cubicBezTo>
                  <a:pt x="367712" y="374127"/>
                  <a:pt x="351922" y="392761"/>
                  <a:pt x="330389" y="394195"/>
                </a:cubicBezTo>
                <a:cubicBezTo>
                  <a:pt x="321776" y="500269"/>
                  <a:pt x="278710" y="553306"/>
                  <a:pt x="201192" y="553306"/>
                </a:cubicBezTo>
                <a:cubicBezTo>
                  <a:pt x="191144" y="553306"/>
                  <a:pt x="181095" y="553306"/>
                  <a:pt x="171047" y="554739"/>
                </a:cubicBezTo>
                <a:cubicBezTo>
                  <a:pt x="159562" y="554739"/>
                  <a:pt x="149514" y="554739"/>
                  <a:pt x="138030" y="554739"/>
                </a:cubicBezTo>
                <a:cubicBezTo>
                  <a:pt x="73432" y="554739"/>
                  <a:pt x="8833" y="541838"/>
                  <a:pt x="220" y="434331"/>
                </a:cubicBezTo>
                <a:cubicBezTo>
                  <a:pt x="-2651" y="397061"/>
                  <a:pt x="23189" y="379860"/>
                  <a:pt x="47592" y="362659"/>
                </a:cubicBezTo>
                <a:cubicBezTo>
                  <a:pt x="74867" y="345458"/>
                  <a:pt x="100706" y="325390"/>
                  <a:pt x="105013" y="282387"/>
                </a:cubicBezTo>
                <a:cubicBezTo>
                  <a:pt x="59076" y="279520"/>
                  <a:pt x="23189" y="240817"/>
                  <a:pt x="23189" y="193514"/>
                </a:cubicBezTo>
                <a:cubicBezTo>
                  <a:pt x="23189" y="189214"/>
                  <a:pt x="24624" y="184913"/>
                  <a:pt x="28931" y="182046"/>
                </a:cubicBezTo>
                <a:lnTo>
                  <a:pt x="10269" y="41570"/>
                </a:lnTo>
                <a:cubicBezTo>
                  <a:pt x="10269" y="38703"/>
                  <a:pt x="11704" y="35836"/>
                  <a:pt x="14575" y="34403"/>
                </a:cubicBezTo>
                <a:lnTo>
                  <a:pt x="37544" y="22935"/>
                </a:lnTo>
                <a:cubicBezTo>
                  <a:pt x="37544" y="21502"/>
                  <a:pt x="36108" y="21502"/>
                  <a:pt x="36108" y="21502"/>
                </a:cubicBezTo>
                <a:cubicBezTo>
                  <a:pt x="36108" y="10034"/>
                  <a:pt x="46157" y="0"/>
                  <a:pt x="57641" y="0"/>
                </a:cubicBezTo>
                <a:close/>
              </a:path>
            </a:pathLst>
          </a:custGeom>
          <a:solidFill>
            <a:srgbClr val="0085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74D01C88-6430-46A8-BAF4-07646F6355DF}"/>
              </a:ext>
            </a:extLst>
          </p:cNvPr>
          <p:cNvSpPr/>
          <p:nvPr/>
        </p:nvSpPr>
        <p:spPr>
          <a:xfrm>
            <a:off x="4205095" y="4830038"/>
            <a:ext cx="4259900" cy="749821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50000"/>
              </a:lnSpc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857C"/>
                </a:solidFill>
                <a:effectLst/>
                <a:uLnTx/>
                <a:uFillTx/>
                <a:latin typeface="+mn-ea"/>
                <a:cs typeface="+mn-ea"/>
                <a:sym typeface="+mn-lt"/>
              </a:rPr>
              <a:t> 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ea"/>
                <a:cs typeface="+mn-ea"/>
                <a:sym typeface="+mn-lt"/>
              </a:rPr>
              <a:t>心血管风险的</a:t>
            </a:r>
            <a:r>
              <a:rPr kumimoji="0" lang="en-US" altLang="zh-CN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ea"/>
                <a:cs typeface="+mn-ea"/>
                <a:sym typeface="+mn-lt"/>
              </a:rPr>
              <a:t>HIV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ea"/>
                <a:cs typeface="+mn-ea"/>
                <a:sym typeface="+mn-lt"/>
              </a:rPr>
              <a:t>病人应更换</a:t>
            </a:r>
            <a:r>
              <a:rPr kumimoji="0" lang="zh-CN" alt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EB842C"/>
                </a:solidFill>
                <a:effectLst/>
                <a:uLnTx/>
                <a:uFillTx/>
                <a:latin typeface="+mn-ea"/>
                <a:cs typeface="+mn-ea"/>
                <a:sym typeface="+mn-lt"/>
              </a:rPr>
              <a:t>具有血脂获益</a:t>
            </a:r>
            <a:r>
              <a:rPr kumimoji="0" lang="en-US" altLang="zh-CN" sz="1200" b="1" i="0" u="sng" strike="noStrike" kern="1200" cap="none" spc="0" normalizeH="0" baseline="0" noProof="0" dirty="0">
                <a:ln>
                  <a:noFill/>
                </a:ln>
                <a:solidFill>
                  <a:srgbClr val="EB842C"/>
                </a:solidFill>
                <a:effectLst/>
                <a:uLnTx/>
                <a:uFillTx/>
                <a:latin typeface="+mn-ea"/>
                <a:cs typeface="+mn-ea"/>
                <a:sym typeface="+mn-lt"/>
              </a:rPr>
              <a:t>HIV</a:t>
            </a:r>
            <a:r>
              <a:rPr kumimoji="0" lang="zh-CN" alt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EB842C"/>
                </a:solidFill>
                <a:effectLst/>
                <a:uLnTx/>
                <a:uFillTx/>
                <a:latin typeface="+mn-ea"/>
                <a:cs typeface="+mn-ea"/>
                <a:sym typeface="+mn-lt"/>
              </a:rPr>
              <a:t>抗病毒药物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ea"/>
                <a:cs typeface="+mn-ea"/>
                <a:sym typeface="+mn-lt"/>
              </a:rPr>
              <a:t>以实现心血管风险</a:t>
            </a:r>
            <a:r>
              <a:rPr lang="zh-CN" altLang="en-US" sz="1200" dirty="0">
                <a:latin typeface="+mn-ea"/>
                <a:cs typeface="+mn-ea"/>
                <a:sym typeface="+mn-lt"/>
              </a:rPr>
              <a:t>降低</a:t>
            </a:r>
            <a:r>
              <a:rPr lang="en-US" altLang="zh-CN" sz="1200" baseline="30000" dirty="0">
                <a:latin typeface="+mn-ea"/>
                <a:cs typeface="+mn-ea"/>
                <a:sym typeface="+mn-lt"/>
              </a:rPr>
              <a:t>1</a:t>
            </a:r>
            <a:endParaRPr kumimoji="0" lang="en-US" altLang="zh-CN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ea"/>
              <a:cs typeface="+mn-ea"/>
              <a:sym typeface="+mn-lt"/>
            </a:endParaRPr>
          </a:p>
          <a:p>
            <a:pPr marL="285750" marR="0" lvl="0" indent="-28575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400" i="0" u="none" strike="noStrike" kern="1200" cap="none" spc="0" normalizeH="0" baseline="0" noProof="0" dirty="0">
              <a:ln>
                <a:noFill/>
              </a:ln>
              <a:solidFill>
                <a:srgbClr val="00857C"/>
              </a:solidFill>
              <a:effectLst/>
              <a:uLnTx/>
              <a:uFillTx/>
              <a:latin typeface="Calibri" panose="020F0502020204030204"/>
              <a:ea typeface="等线"/>
              <a:cs typeface="+mn-ea"/>
              <a:sym typeface="+mn-lt"/>
            </a:endParaRPr>
          </a:p>
        </p:txBody>
      </p:sp>
      <p:sp>
        <p:nvSpPr>
          <p:cNvPr id="116" name="等腰三角形 115">
            <a:extLst>
              <a:ext uri="{FF2B5EF4-FFF2-40B4-BE49-F238E27FC236}">
                <a16:creationId xmlns:a16="http://schemas.microsoft.com/office/drawing/2014/main" id="{AF5EDD4E-DA4C-42C5-92DD-38B845938563}"/>
              </a:ext>
            </a:extLst>
          </p:cNvPr>
          <p:cNvSpPr/>
          <p:nvPr/>
        </p:nvSpPr>
        <p:spPr>
          <a:xfrm flipH="1" flipV="1">
            <a:off x="4221556" y="3280692"/>
            <a:ext cx="3977045" cy="305575"/>
          </a:xfrm>
          <a:prstGeom prst="triangle">
            <a:avLst/>
          </a:prstGeom>
          <a:solidFill>
            <a:schemeClr val="bg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kern="600" spc="30" dirty="0" err="1"/>
          </a:p>
        </p:txBody>
      </p:sp>
      <p:sp>
        <p:nvSpPr>
          <p:cNvPr id="117" name="等腰三角形 116">
            <a:extLst>
              <a:ext uri="{FF2B5EF4-FFF2-40B4-BE49-F238E27FC236}">
                <a16:creationId xmlns:a16="http://schemas.microsoft.com/office/drawing/2014/main" id="{D51A5400-AC3A-4BEA-9D4C-113FE45361E8}"/>
              </a:ext>
            </a:extLst>
          </p:cNvPr>
          <p:cNvSpPr/>
          <p:nvPr/>
        </p:nvSpPr>
        <p:spPr>
          <a:xfrm flipH="1" flipV="1">
            <a:off x="4221559" y="2261643"/>
            <a:ext cx="3977044" cy="305575"/>
          </a:xfrm>
          <a:prstGeom prst="triangle">
            <a:avLst/>
          </a:prstGeom>
          <a:solidFill>
            <a:schemeClr val="bg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kern="600" spc="30" dirty="0" err="1"/>
          </a:p>
        </p:txBody>
      </p:sp>
      <p:sp>
        <p:nvSpPr>
          <p:cNvPr id="118" name="işľiḑê">
            <a:extLst>
              <a:ext uri="{FF2B5EF4-FFF2-40B4-BE49-F238E27FC236}">
                <a16:creationId xmlns:a16="http://schemas.microsoft.com/office/drawing/2014/main" id="{2DE3C767-75FD-4183-8631-E2EE3167F02B}"/>
              </a:ext>
            </a:extLst>
          </p:cNvPr>
          <p:cNvSpPr/>
          <p:nvPr/>
        </p:nvSpPr>
        <p:spPr>
          <a:xfrm>
            <a:off x="4232867" y="2131345"/>
            <a:ext cx="3947900" cy="29349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kern="600" spc="10" dirty="0"/>
              <a:t>HIV</a:t>
            </a:r>
            <a:r>
              <a:rPr lang="zh-CN" altLang="en-US" sz="1400" kern="600" spc="10" dirty="0"/>
              <a:t>进入慢病管理</a:t>
            </a:r>
            <a:endParaRPr lang="zh-CN" altLang="en-US" sz="1400" b="1" dirty="0"/>
          </a:p>
        </p:txBody>
      </p:sp>
      <p:grpSp>
        <p:nvGrpSpPr>
          <p:cNvPr id="119" name="组合 118">
            <a:extLst>
              <a:ext uri="{FF2B5EF4-FFF2-40B4-BE49-F238E27FC236}">
                <a16:creationId xmlns:a16="http://schemas.microsoft.com/office/drawing/2014/main" id="{0E124B28-A5E6-4DDE-907F-F9BBF3F3E182}"/>
              </a:ext>
            </a:extLst>
          </p:cNvPr>
          <p:cNvGrpSpPr/>
          <p:nvPr/>
        </p:nvGrpSpPr>
        <p:grpSpPr>
          <a:xfrm>
            <a:off x="4230797" y="2602462"/>
            <a:ext cx="3951117" cy="832077"/>
            <a:chOff x="4294148" y="3441707"/>
            <a:chExt cx="4524724" cy="832077"/>
          </a:xfrm>
        </p:grpSpPr>
        <p:sp>
          <p:nvSpPr>
            <p:cNvPr id="128" name="iśḻïḍè">
              <a:extLst>
                <a:ext uri="{FF2B5EF4-FFF2-40B4-BE49-F238E27FC236}">
                  <a16:creationId xmlns:a16="http://schemas.microsoft.com/office/drawing/2014/main" id="{F7FDE8C2-3863-4EC8-82F8-C4DB517DC14A}"/>
                </a:ext>
              </a:extLst>
            </p:cNvPr>
            <p:cNvSpPr/>
            <p:nvPr/>
          </p:nvSpPr>
          <p:spPr>
            <a:xfrm>
              <a:off x="4294148" y="3984329"/>
              <a:ext cx="4523408" cy="289455"/>
            </a:xfrm>
            <a:prstGeom prst="rect">
              <a:avLst/>
            </a:prstGeom>
            <a:solidFill>
              <a:srgbClr val="F3A5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+mn-ea"/>
                </a:rPr>
                <a:t>心血管</a:t>
              </a:r>
              <a:r>
                <a:rPr lang="zh-CN" altLang="zh-CN" sz="1400" dirty="0">
                  <a:solidFill>
                    <a:schemeClr val="bg1"/>
                  </a:solidFill>
                  <a:latin typeface="+mn-ea"/>
                </a:rPr>
                <a:t>已成为</a:t>
              </a:r>
              <a:r>
                <a:rPr lang="zh-CN" altLang="en-US" sz="1400" dirty="0">
                  <a:solidFill>
                    <a:schemeClr val="bg1"/>
                  </a:solidFill>
                  <a:latin typeface="+mn-ea"/>
                </a:rPr>
                <a:t>其中</a:t>
              </a:r>
              <a:r>
                <a:rPr lang="zh-CN" altLang="zh-CN" sz="1400" dirty="0">
                  <a:solidFill>
                    <a:schemeClr val="bg1"/>
                  </a:solidFill>
                  <a:latin typeface="+mn-ea"/>
                </a:rPr>
                <a:t>重要致死原因</a:t>
              </a:r>
              <a:r>
                <a:rPr lang="en-US" altLang="zh-CN" sz="1400" baseline="30000" dirty="0">
                  <a:solidFill>
                    <a:schemeClr val="bg1"/>
                  </a:solidFill>
                  <a:latin typeface="+mn-ea"/>
                </a:rPr>
                <a:t>3</a:t>
              </a:r>
              <a:endParaRPr lang="zh-CN" altLang="en-US" sz="1400" baseline="30000" dirty="0">
                <a:solidFill>
                  <a:schemeClr val="bg1"/>
                </a:solidFill>
                <a:latin typeface="+mn-ea"/>
              </a:endParaRPr>
            </a:p>
          </p:txBody>
        </p:sp>
        <p:grpSp>
          <p:nvGrpSpPr>
            <p:cNvPr id="129" name="组合 128">
              <a:extLst>
                <a:ext uri="{FF2B5EF4-FFF2-40B4-BE49-F238E27FC236}">
                  <a16:creationId xmlns:a16="http://schemas.microsoft.com/office/drawing/2014/main" id="{1BAD20D7-4D3A-4FA9-A4E6-274405FB90DB}"/>
                </a:ext>
              </a:extLst>
            </p:cNvPr>
            <p:cNvGrpSpPr/>
            <p:nvPr/>
          </p:nvGrpSpPr>
          <p:grpSpPr>
            <a:xfrm>
              <a:off x="4306020" y="3452209"/>
              <a:ext cx="4512852" cy="538762"/>
              <a:chOff x="2558723" y="2812468"/>
              <a:chExt cx="3485916" cy="538762"/>
            </a:xfrm>
            <a:solidFill>
              <a:srgbClr val="7F7F7F"/>
            </a:solidFill>
          </p:grpSpPr>
          <p:sp>
            <p:nvSpPr>
              <p:cNvPr id="132" name="ïšļîḋè">
                <a:extLst>
                  <a:ext uri="{FF2B5EF4-FFF2-40B4-BE49-F238E27FC236}">
                    <a16:creationId xmlns:a16="http://schemas.microsoft.com/office/drawing/2014/main" id="{08D71670-0C51-4FF0-8681-CAF5D7FE2C47}"/>
                  </a:ext>
                </a:extLst>
              </p:cNvPr>
              <p:cNvSpPr/>
              <p:nvPr/>
            </p:nvSpPr>
            <p:spPr>
              <a:xfrm>
                <a:off x="2558723" y="2812468"/>
                <a:ext cx="1140760" cy="538762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</a:pPr>
                <a:r>
                  <a:rPr lang="en-US" altLang="zh-CN" sz="1600" b="1" dirty="0">
                    <a:latin typeface="+mn-ea"/>
                  </a:rPr>
                  <a:t>3X</a:t>
                </a:r>
              </a:p>
              <a:p>
                <a:pPr algn="ctr">
                  <a:lnSpc>
                    <a:spcPct val="90000"/>
                  </a:lnSpc>
                </a:pPr>
                <a:r>
                  <a:rPr lang="zh-CN" altLang="en-US" sz="1400" dirty="0">
                    <a:latin typeface="+mn-ea"/>
                  </a:rPr>
                  <a:t>心血管事件</a:t>
                </a:r>
              </a:p>
            </p:txBody>
          </p:sp>
          <p:sp>
            <p:nvSpPr>
              <p:cNvPr id="133" name="ïšļîḋè">
                <a:extLst>
                  <a:ext uri="{FF2B5EF4-FFF2-40B4-BE49-F238E27FC236}">
                    <a16:creationId xmlns:a16="http://schemas.microsoft.com/office/drawing/2014/main" id="{0C6B1BEB-D3B8-4646-95AD-2C8CC06833D8}"/>
                  </a:ext>
                </a:extLst>
              </p:cNvPr>
              <p:cNvSpPr/>
              <p:nvPr/>
            </p:nvSpPr>
            <p:spPr>
              <a:xfrm>
                <a:off x="3736279" y="2845524"/>
                <a:ext cx="1140760" cy="474742"/>
              </a:xfrm>
              <a:prstGeom prst="rect">
                <a:avLst/>
              </a:prstGeom>
              <a:solidFill>
                <a:srgbClr val="F7B4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200" dirty="0">
                  <a:latin typeface="+mn-ea"/>
                </a:endParaRPr>
              </a:p>
            </p:txBody>
          </p:sp>
          <p:sp>
            <p:nvSpPr>
              <p:cNvPr id="134" name="ïšļîḋè">
                <a:extLst>
                  <a:ext uri="{FF2B5EF4-FFF2-40B4-BE49-F238E27FC236}">
                    <a16:creationId xmlns:a16="http://schemas.microsoft.com/office/drawing/2014/main" id="{C8C2372E-9208-4596-814B-3C3BA1E03287}"/>
                  </a:ext>
                </a:extLst>
              </p:cNvPr>
              <p:cNvSpPr/>
              <p:nvPr/>
            </p:nvSpPr>
            <p:spPr>
              <a:xfrm>
                <a:off x="4903879" y="2839764"/>
                <a:ext cx="1140760" cy="479964"/>
              </a:xfrm>
              <a:prstGeom prst="rect">
                <a:avLst/>
              </a:prstGeom>
              <a:solidFill>
                <a:srgbClr val="F7B4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10000"/>
                  </a:lnSpc>
                </a:pPr>
                <a:endParaRPr lang="zh-CN" altLang="en-US" sz="1300" dirty="0">
                  <a:latin typeface="+mn-ea"/>
                </a:endParaRPr>
              </a:p>
            </p:txBody>
          </p:sp>
        </p:grpSp>
        <p:sp>
          <p:nvSpPr>
            <p:cNvPr id="130" name="矩形 129">
              <a:extLst>
                <a:ext uri="{FF2B5EF4-FFF2-40B4-BE49-F238E27FC236}">
                  <a16:creationId xmlns:a16="http://schemas.microsoft.com/office/drawing/2014/main" id="{75BF2CE9-B315-49AC-AA37-4316B3BAECFF}"/>
                </a:ext>
              </a:extLst>
            </p:cNvPr>
            <p:cNvSpPr/>
            <p:nvPr/>
          </p:nvSpPr>
          <p:spPr>
            <a:xfrm>
              <a:off x="7340734" y="3441707"/>
              <a:ext cx="1476822" cy="535531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10000"/>
                </a:lnSpc>
              </a:pPr>
              <a:r>
                <a:rPr lang="en-US" altLang="zh-CN" sz="1600" b="1" dirty="0">
                  <a:solidFill>
                    <a:schemeClr val="bg1"/>
                  </a:solidFill>
                  <a:latin typeface="+mn-ea"/>
                </a:rPr>
                <a:t>1.5-2X</a:t>
              </a:r>
            </a:p>
            <a:p>
              <a:pPr algn="ctr">
                <a:lnSpc>
                  <a:spcPct val="80000"/>
                </a:lnSpc>
              </a:pPr>
              <a:r>
                <a:rPr lang="zh-CN" altLang="en-US" sz="1400" dirty="0">
                  <a:solidFill>
                    <a:schemeClr val="bg1"/>
                  </a:solidFill>
                  <a:latin typeface="+mn-ea"/>
                </a:rPr>
                <a:t>卒中及心梗</a:t>
              </a:r>
              <a:endParaRPr lang="zh-CN" altLang="en-US" sz="110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31" name="矩形 130">
              <a:extLst>
                <a:ext uri="{FF2B5EF4-FFF2-40B4-BE49-F238E27FC236}">
                  <a16:creationId xmlns:a16="http://schemas.microsoft.com/office/drawing/2014/main" id="{5A9B90D3-50DC-4AF7-BF7A-10BCC3CE353E}"/>
                </a:ext>
              </a:extLst>
            </p:cNvPr>
            <p:cNvSpPr/>
            <p:nvPr/>
          </p:nvSpPr>
          <p:spPr>
            <a:xfrm>
              <a:off x="5816275" y="3443774"/>
              <a:ext cx="1491027" cy="532453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b="1" dirty="0">
                  <a:solidFill>
                    <a:schemeClr val="bg1"/>
                  </a:solidFill>
                  <a:latin typeface="+mn-ea"/>
                </a:rPr>
                <a:t>4.5X</a:t>
              </a:r>
            </a:p>
            <a:p>
              <a:pPr algn="ctr">
                <a:lnSpc>
                  <a:spcPct val="90000"/>
                </a:lnSpc>
              </a:pPr>
              <a:r>
                <a:rPr lang="zh-CN" altLang="en-US" sz="1400" dirty="0">
                  <a:solidFill>
                    <a:schemeClr val="lt1"/>
                  </a:solidFill>
                  <a:latin typeface="+mn-ea"/>
                </a:rPr>
                <a:t>心源性猝死</a:t>
              </a:r>
            </a:p>
          </p:txBody>
        </p:sp>
      </p:grpSp>
      <p:grpSp>
        <p:nvGrpSpPr>
          <p:cNvPr id="120" name="组合 119">
            <a:extLst>
              <a:ext uri="{FF2B5EF4-FFF2-40B4-BE49-F238E27FC236}">
                <a16:creationId xmlns:a16="http://schemas.microsoft.com/office/drawing/2014/main" id="{6B85E759-0A6C-4F14-A2D5-3BDF05C19E4B}"/>
              </a:ext>
            </a:extLst>
          </p:cNvPr>
          <p:cNvGrpSpPr/>
          <p:nvPr/>
        </p:nvGrpSpPr>
        <p:grpSpPr>
          <a:xfrm>
            <a:off x="4221559" y="3674377"/>
            <a:ext cx="3959208" cy="750684"/>
            <a:chOff x="2995419" y="3824948"/>
            <a:chExt cx="5489757" cy="750684"/>
          </a:xfrm>
        </p:grpSpPr>
        <p:sp>
          <p:nvSpPr>
            <p:cNvPr id="121" name="íŝ1îḋè">
              <a:extLst>
                <a:ext uri="{FF2B5EF4-FFF2-40B4-BE49-F238E27FC236}">
                  <a16:creationId xmlns:a16="http://schemas.microsoft.com/office/drawing/2014/main" id="{A6A0F79F-6629-43C3-A231-3AC309E8E799}"/>
                </a:ext>
              </a:extLst>
            </p:cNvPr>
            <p:cNvSpPr/>
            <p:nvPr/>
          </p:nvSpPr>
          <p:spPr>
            <a:xfrm>
              <a:off x="2995419" y="4317416"/>
              <a:ext cx="5489757" cy="258216"/>
            </a:xfrm>
            <a:prstGeom prst="rect">
              <a:avLst/>
            </a:prstGeom>
            <a:solidFill>
              <a:srgbClr val="0085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400" dirty="0">
                  <a:latin typeface="+mn-ea"/>
                </a:rPr>
                <a:t>心血管风险因子</a:t>
              </a:r>
              <a:r>
                <a:rPr lang="en-US" altLang="zh-CN" sz="1400" baseline="30000" dirty="0">
                  <a:latin typeface="+mn-ea"/>
                </a:rPr>
                <a:t>4,5</a:t>
              </a:r>
              <a:endParaRPr lang="zh-CN" altLang="en-US" sz="1400" baseline="30000" dirty="0">
                <a:latin typeface="+mn-ea"/>
              </a:endParaRPr>
            </a:p>
          </p:txBody>
        </p:sp>
        <p:grpSp>
          <p:nvGrpSpPr>
            <p:cNvPr id="122" name="组合 121">
              <a:extLst>
                <a:ext uri="{FF2B5EF4-FFF2-40B4-BE49-F238E27FC236}">
                  <a16:creationId xmlns:a16="http://schemas.microsoft.com/office/drawing/2014/main" id="{BEEF86D6-80D2-42CE-B432-E0D9C342FE53}"/>
                </a:ext>
              </a:extLst>
            </p:cNvPr>
            <p:cNvGrpSpPr/>
            <p:nvPr/>
          </p:nvGrpSpPr>
          <p:grpSpPr>
            <a:xfrm>
              <a:off x="3012190" y="3824948"/>
              <a:ext cx="5460622" cy="455517"/>
              <a:chOff x="2519498" y="3920378"/>
              <a:chExt cx="3725894" cy="455517"/>
            </a:xfrm>
          </p:grpSpPr>
          <p:sp>
            <p:nvSpPr>
              <p:cNvPr id="123" name="işľíde">
                <a:extLst>
                  <a:ext uri="{FF2B5EF4-FFF2-40B4-BE49-F238E27FC236}">
                    <a16:creationId xmlns:a16="http://schemas.microsoft.com/office/drawing/2014/main" id="{93196178-20EA-428B-BAA8-3489114F9B8D}"/>
                  </a:ext>
                </a:extLst>
              </p:cNvPr>
              <p:cNvSpPr/>
              <p:nvPr/>
            </p:nvSpPr>
            <p:spPr>
              <a:xfrm>
                <a:off x="2519498" y="3920378"/>
                <a:ext cx="723203" cy="455517"/>
              </a:xfrm>
              <a:prstGeom prst="rect">
                <a:avLst/>
              </a:prstGeom>
              <a:solidFill>
                <a:srgbClr val="FFC000"/>
              </a:solidFill>
              <a:ln w="12700">
                <a:noFill/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200" dirty="0">
                    <a:solidFill>
                      <a:schemeClr val="tx1"/>
                    </a:solidFill>
                    <a:latin typeface="+mn-ea"/>
                  </a:rPr>
                  <a:t>肥胖</a:t>
                </a:r>
              </a:p>
            </p:txBody>
          </p:sp>
          <p:sp>
            <p:nvSpPr>
              <p:cNvPr id="124" name="işľíde">
                <a:extLst>
                  <a:ext uri="{FF2B5EF4-FFF2-40B4-BE49-F238E27FC236}">
                    <a16:creationId xmlns:a16="http://schemas.microsoft.com/office/drawing/2014/main" id="{13A37FCD-486C-40D7-BF54-310D6BEAA4B1}"/>
                  </a:ext>
                </a:extLst>
              </p:cNvPr>
              <p:cNvSpPr/>
              <p:nvPr/>
            </p:nvSpPr>
            <p:spPr>
              <a:xfrm>
                <a:off x="5522189" y="3920378"/>
                <a:ext cx="723203" cy="455517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400" dirty="0">
                    <a:solidFill>
                      <a:schemeClr val="tx1"/>
                    </a:solidFill>
                    <a:latin typeface="+mn-ea"/>
                  </a:rPr>
                  <a:t>高血压</a:t>
                </a:r>
              </a:p>
            </p:txBody>
          </p:sp>
          <p:sp>
            <p:nvSpPr>
              <p:cNvPr id="125" name="işľíde">
                <a:extLst>
                  <a:ext uri="{FF2B5EF4-FFF2-40B4-BE49-F238E27FC236}">
                    <a16:creationId xmlns:a16="http://schemas.microsoft.com/office/drawing/2014/main" id="{5D8DB5F0-13AC-41A2-834D-2CED2B4FA5AC}"/>
                  </a:ext>
                </a:extLst>
              </p:cNvPr>
              <p:cNvSpPr/>
              <p:nvPr/>
            </p:nvSpPr>
            <p:spPr>
              <a:xfrm>
                <a:off x="3268493" y="3920378"/>
                <a:ext cx="723203" cy="455517"/>
              </a:xfrm>
              <a:prstGeom prst="rect">
                <a:avLst/>
              </a:prstGeom>
              <a:solidFill>
                <a:srgbClr val="FFC000"/>
              </a:solidFill>
              <a:ln w="12700">
                <a:noFill/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200" dirty="0">
                    <a:solidFill>
                      <a:schemeClr val="tx1"/>
                    </a:solidFill>
                    <a:latin typeface="+mn-ea"/>
                  </a:rPr>
                  <a:t>血脂</a:t>
                </a:r>
              </a:p>
            </p:txBody>
          </p:sp>
          <p:sp>
            <p:nvSpPr>
              <p:cNvPr id="126" name="işľíde">
                <a:extLst>
                  <a:ext uri="{FF2B5EF4-FFF2-40B4-BE49-F238E27FC236}">
                    <a16:creationId xmlns:a16="http://schemas.microsoft.com/office/drawing/2014/main" id="{8E6D1E74-9C5C-41C2-9F47-015A15FA0237}"/>
                  </a:ext>
                </a:extLst>
              </p:cNvPr>
              <p:cNvSpPr/>
              <p:nvPr/>
            </p:nvSpPr>
            <p:spPr>
              <a:xfrm>
                <a:off x="4770152" y="3920378"/>
                <a:ext cx="723203" cy="455517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400" dirty="0">
                    <a:solidFill>
                      <a:schemeClr val="tx1"/>
                    </a:solidFill>
                    <a:latin typeface="+mn-ea"/>
                  </a:rPr>
                  <a:t>抽烟</a:t>
                </a:r>
              </a:p>
            </p:txBody>
          </p:sp>
          <p:sp>
            <p:nvSpPr>
              <p:cNvPr id="127" name="işľíde">
                <a:extLst>
                  <a:ext uri="{FF2B5EF4-FFF2-40B4-BE49-F238E27FC236}">
                    <a16:creationId xmlns:a16="http://schemas.microsoft.com/office/drawing/2014/main" id="{1F640AB3-A055-4EAE-A3DC-79054D04D86F}"/>
                  </a:ext>
                </a:extLst>
              </p:cNvPr>
              <p:cNvSpPr/>
              <p:nvPr/>
            </p:nvSpPr>
            <p:spPr>
              <a:xfrm>
                <a:off x="4022721" y="3920378"/>
                <a:ext cx="723203" cy="455517"/>
              </a:xfrm>
              <a:prstGeom prst="rect">
                <a:avLst/>
              </a:prstGeom>
              <a:solidFill>
                <a:srgbClr val="FFC000"/>
              </a:solidFill>
              <a:ln w="12700">
                <a:noFill/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200" dirty="0">
                    <a:solidFill>
                      <a:schemeClr val="tx1"/>
                    </a:solidFill>
                    <a:latin typeface="+mn-ea"/>
                  </a:rPr>
                  <a:t>药物</a:t>
                </a:r>
                <a:endParaRPr lang="en-US" altLang="zh-CN" sz="1200" dirty="0">
                  <a:solidFill>
                    <a:schemeClr val="tx1"/>
                  </a:solidFill>
                  <a:latin typeface="+mn-ea"/>
                </a:endParaRPr>
              </a:p>
              <a:p>
                <a:pPr algn="ctr"/>
                <a:r>
                  <a:rPr lang="zh-CN" altLang="en-US" sz="1200" dirty="0">
                    <a:solidFill>
                      <a:schemeClr val="tx1"/>
                    </a:solidFill>
                    <a:latin typeface="+mn-ea"/>
                  </a:rPr>
                  <a:t>副作用</a:t>
                </a:r>
              </a:p>
            </p:txBody>
          </p:sp>
        </p:grpSp>
      </p:grpSp>
      <p:sp>
        <p:nvSpPr>
          <p:cNvPr id="140" name="文本框 139">
            <a:extLst>
              <a:ext uri="{FF2B5EF4-FFF2-40B4-BE49-F238E27FC236}">
                <a16:creationId xmlns:a16="http://schemas.microsoft.com/office/drawing/2014/main" id="{22108403-EE6E-4E33-BB9D-0B444ECF3D59}"/>
              </a:ext>
            </a:extLst>
          </p:cNvPr>
          <p:cNvSpPr txBox="1"/>
          <p:nvPr/>
        </p:nvSpPr>
        <p:spPr>
          <a:xfrm>
            <a:off x="9088592" y="1512653"/>
            <a:ext cx="258111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000" b="1" dirty="0">
                <a:solidFill>
                  <a:srgbClr val="EB842C"/>
                </a:solidFill>
                <a:latin typeface="+mn-ea"/>
              </a:rPr>
              <a:t>多拉米替片</a:t>
            </a:r>
            <a:endParaRPr lang="en-US" altLang="zh-CN" sz="2000" b="1" dirty="0">
              <a:solidFill>
                <a:srgbClr val="EB842C"/>
              </a:solidFill>
              <a:latin typeface="+mn-ea"/>
            </a:endParaRPr>
          </a:p>
        </p:txBody>
      </p:sp>
      <p:sp>
        <p:nvSpPr>
          <p:cNvPr id="144" name="文本框 143">
            <a:extLst>
              <a:ext uri="{FF2B5EF4-FFF2-40B4-BE49-F238E27FC236}">
                <a16:creationId xmlns:a16="http://schemas.microsoft.com/office/drawing/2014/main" id="{7EFC72D9-984D-4D37-9650-3B0D76478D43}"/>
              </a:ext>
            </a:extLst>
          </p:cNvPr>
          <p:cNvSpPr txBox="1"/>
          <p:nvPr/>
        </p:nvSpPr>
        <p:spPr>
          <a:xfrm>
            <a:off x="223128" y="6070678"/>
            <a:ext cx="7153834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1.</a:t>
            </a:r>
            <a:r>
              <a:rPr lang="zh-CN" altLang="en-US" sz="900" b="0" u="none" strike="noStrike" baseline="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中国疾病预防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控制中心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http://www.nhc.gov.cn/jkj/s3578/202204/4fd88a291d914abf8f7a91f6333567e1.shtml</a:t>
            </a:r>
            <a:endParaRPr lang="zh-CN" altLang="en-US" sz="9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  <a:p>
            <a:r>
              <a:rPr lang="fr-FR" altLang="zh-C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.Xia H, et al. Front </a:t>
            </a:r>
            <a:r>
              <a:rPr lang="fr-FR" altLang="zh-CN" sz="9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harmacol</a:t>
            </a:r>
            <a:r>
              <a:rPr lang="fr-FR" altLang="zh-C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2020;11:800.</a:t>
            </a:r>
          </a:p>
          <a:p>
            <a:r>
              <a:rPr lang="fr-FR" altLang="zh-C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.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 </a:t>
            </a:r>
            <a:r>
              <a:rPr lang="en-US" altLang="zh-CN" sz="900" dirty="0" err="1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Schwarcz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 SK, et al. AIDS Patient Care STDS. 2014;28(10):517-23</a:t>
            </a:r>
          </a:p>
          <a:p>
            <a:r>
              <a:rPr lang="fr-FR" altLang="zh-C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.Han </a:t>
            </a:r>
            <a:r>
              <a:rPr lang="fr-FR" altLang="zh-CN" sz="9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,et</a:t>
            </a:r>
            <a:r>
              <a:rPr lang="fr-FR" altLang="zh-C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l. </a:t>
            </a:r>
            <a:r>
              <a:rPr lang="fr-FR" altLang="zh-CN" sz="9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ci</a:t>
            </a:r>
            <a:r>
              <a:rPr lang="fr-FR" altLang="zh-C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China Life </a:t>
            </a:r>
            <a:r>
              <a:rPr lang="fr-FR" altLang="zh-CN" sz="9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ci</a:t>
            </a:r>
            <a:r>
              <a:rPr lang="fr-FR" altLang="zh-C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2018;61(5):504-514.</a:t>
            </a:r>
          </a:p>
          <a:p>
            <a:r>
              <a:rPr lang="fr-FR" altLang="zh-C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.Lloyd-Jones DM, et al. Circulation. 2010;121(4):586-613.</a:t>
            </a:r>
            <a:endParaRPr lang="zh-CN" altLang="en-US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8" name="文本框 147">
            <a:extLst>
              <a:ext uri="{FF2B5EF4-FFF2-40B4-BE49-F238E27FC236}">
                <a16:creationId xmlns:a16="http://schemas.microsoft.com/office/drawing/2014/main" id="{E21F1679-BDE6-44A6-9BAB-38BCE27B82A7}"/>
              </a:ext>
            </a:extLst>
          </p:cNvPr>
          <p:cNvSpPr txBox="1"/>
          <p:nvPr/>
        </p:nvSpPr>
        <p:spPr>
          <a:xfrm>
            <a:off x="8802302" y="2544534"/>
            <a:ext cx="3055839" cy="8903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zh-CN" sz="1200" kern="100" dirty="0">
                <a:effectLst/>
                <a:latin typeface="+mn-ea"/>
                <a:cs typeface="+mn-ea"/>
                <a:sym typeface="+mn-lt"/>
              </a:rPr>
              <a:t>适用于治疗</a:t>
            </a:r>
            <a:r>
              <a:rPr lang="en-US" altLang="zh-CN" sz="1200" kern="100" dirty="0">
                <a:effectLst/>
                <a:latin typeface="+mn-ea"/>
                <a:cs typeface="+mn-ea"/>
                <a:sym typeface="+mn-lt"/>
              </a:rPr>
              <a:t> HIV-1</a:t>
            </a:r>
            <a:r>
              <a:rPr lang="zh-CN" altLang="zh-CN" sz="1200" kern="100" dirty="0">
                <a:effectLst/>
                <a:latin typeface="+mn-ea"/>
                <a:cs typeface="+mn-ea"/>
                <a:sym typeface="+mn-lt"/>
              </a:rPr>
              <a:t>感染且无</a:t>
            </a:r>
            <a:r>
              <a:rPr lang="en-US" altLang="zh-CN" sz="1200" kern="100" dirty="0">
                <a:effectLst/>
                <a:latin typeface="+mn-ea"/>
                <a:cs typeface="+mn-ea"/>
                <a:sym typeface="+mn-lt"/>
              </a:rPr>
              <a:t>NNRTI</a:t>
            </a:r>
            <a:r>
              <a:rPr lang="zh-CN" altLang="zh-CN" sz="1200" kern="100" dirty="0">
                <a:effectLst/>
                <a:latin typeface="+mn-ea"/>
                <a:cs typeface="+mn-ea"/>
                <a:sym typeface="+mn-lt"/>
              </a:rPr>
              <a:t>类药物、拉米夫定或替诺福韦病毒耐药性的既往或现有证据的成年患者。</a:t>
            </a:r>
            <a:endParaRPr lang="zh-CN" altLang="en-US" sz="1200" dirty="0"/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29963152-2877-4D27-AC02-2309CDE7FEA1}"/>
              </a:ext>
            </a:extLst>
          </p:cNvPr>
          <p:cNvCxnSpPr>
            <a:cxnSpLocks/>
          </p:cNvCxnSpPr>
          <p:nvPr/>
        </p:nvCxnSpPr>
        <p:spPr>
          <a:xfrm>
            <a:off x="4029721" y="2112057"/>
            <a:ext cx="0" cy="3467802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接连接符 53">
            <a:extLst>
              <a:ext uri="{FF2B5EF4-FFF2-40B4-BE49-F238E27FC236}">
                <a16:creationId xmlns:a16="http://schemas.microsoft.com/office/drawing/2014/main" id="{BF72C1A5-37CA-4A03-A357-465E3E077754}"/>
              </a:ext>
            </a:extLst>
          </p:cNvPr>
          <p:cNvCxnSpPr>
            <a:cxnSpLocks/>
          </p:cNvCxnSpPr>
          <p:nvPr/>
        </p:nvCxnSpPr>
        <p:spPr>
          <a:xfrm>
            <a:off x="8556159" y="2131920"/>
            <a:ext cx="0" cy="3467802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灯片编号占位符 1">
            <a:extLst>
              <a:ext uri="{FF2B5EF4-FFF2-40B4-BE49-F238E27FC236}">
                <a16:creationId xmlns:a16="http://schemas.microsoft.com/office/drawing/2014/main" id="{CEFB7975-254F-41E2-8C8D-962317990310}"/>
              </a:ext>
            </a:extLst>
          </p:cNvPr>
          <p:cNvSpPr txBox="1">
            <a:spLocks/>
          </p:cNvSpPr>
          <p:nvPr/>
        </p:nvSpPr>
        <p:spPr>
          <a:xfrm>
            <a:off x="11669586" y="6469178"/>
            <a:ext cx="229431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865560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3449D21B-853C-4F7D-A173-BF1341DE9E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9280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338" imgH="338" progId="TCLayout.ActiveDocument.1">
                  <p:embed/>
                </p:oleObj>
              </mc:Choice>
              <mc:Fallback>
                <p:oleObj name="think-cell 幻灯片" r:id="rId5" imgW="338" imgH="338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3449D21B-853C-4F7D-A173-BF1341DE9E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1">
            <a:extLst>
              <a:ext uri="{FF2B5EF4-FFF2-40B4-BE49-F238E27FC236}">
                <a16:creationId xmlns:a16="http://schemas.microsoft.com/office/drawing/2014/main" id="{CA6C868A-A745-4B43-83F2-7A025199C0CC}"/>
              </a:ext>
            </a:extLst>
          </p:cNvPr>
          <p:cNvSpPr txBox="1">
            <a:spLocks/>
          </p:cNvSpPr>
          <p:nvPr/>
        </p:nvSpPr>
        <p:spPr>
          <a:xfrm>
            <a:off x="443982" y="459421"/>
            <a:ext cx="7523163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50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药品基本信息</a:t>
            </a:r>
            <a:endParaRPr lang="zh-CN" altLang="en-US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22" name="išľîďé">
            <a:extLst>
              <a:ext uri="{FF2B5EF4-FFF2-40B4-BE49-F238E27FC236}">
                <a16:creationId xmlns:a16="http://schemas.microsoft.com/office/drawing/2014/main" id="{7FBE45AC-9638-4C72-8482-3D36368091B7}"/>
              </a:ext>
            </a:extLst>
          </p:cNvPr>
          <p:cNvGrpSpPr/>
          <p:nvPr/>
        </p:nvGrpSpPr>
        <p:grpSpPr>
          <a:xfrm>
            <a:off x="451915" y="2045368"/>
            <a:ext cx="11335316" cy="3704831"/>
            <a:chOff x="1301009" y="4286954"/>
            <a:chExt cx="11340346" cy="3970325"/>
          </a:xfrm>
        </p:grpSpPr>
        <p:sp>
          <p:nvSpPr>
            <p:cNvPr id="25" name="îṥḷîḓè">
              <a:extLst>
                <a:ext uri="{FF2B5EF4-FFF2-40B4-BE49-F238E27FC236}">
                  <a16:creationId xmlns:a16="http://schemas.microsoft.com/office/drawing/2014/main" id="{E1F589CB-A6C2-49B4-BD36-769E0CD86243}"/>
                </a:ext>
              </a:extLst>
            </p:cNvPr>
            <p:cNvSpPr/>
            <p:nvPr/>
          </p:nvSpPr>
          <p:spPr>
            <a:xfrm>
              <a:off x="1301009" y="4286954"/>
              <a:ext cx="11340346" cy="3970325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65000"/>
                <a:alpha val="15000"/>
              </a:schemeClr>
            </a:solidFill>
            <a:ln w="5715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defTabSz="913765">
                <a:lnSpc>
                  <a:spcPct val="150000"/>
                </a:lnSpc>
              </a:pPr>
              <a:endParaRPr lang="zh-CN" altLang="en-US" sz="12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27" name="ïṩlïḓé">
              <a:extLst>
                <a:ext uri="{FF2B5EF4-FFF2-40B4-BE49-F238E27FC236}">
                  <a16:creationId xmlns:a16="http://schemas.microsoft.com/office/drawing/2014/main" id="{FC27C9F5-DA58-4739-BCEC-1A3265D12D22}"/>
                </a:ext>
              </a:extLst>
            </p:cNvPr>
            <p:cNvSpPr txBox="1"/>
            <p:nvPr/>
          </p:nvSpPr>
          <p:spPr>
            <a:xfrm>
              <a:off x="1772541" y="4299443"/>
              <a:ext cx="2466248" cy="5342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lnSpc>
                  <a:spcPct val="150000"/>
                </a:lnSpc>
                <a:defRPr kumimoji="0" sz="1400" b="1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2000" dirty="0">
                  <a:solidFill>
                    <a:srgbClr val="00857C"/>
                  </a:solidFill>
                  <a:cs typeface="+mn-ea"/>
                  <a:sym typeface="+mn-lt"/>
                </a:rPr>
                <a:t>适应症</a:t>
              </a:r>
              <a:endParaRPr lang="en-US" altLang="zh-CN" sz="2000" dirty="0">
                <a:solidFill>
                  <a:srgbClr val="00857C"/>
                </a:solidFill>
                <a:cs typeface="+mn-ea"/>
                <a:sym typeface="+mn-lt"/>
              </a:endParaRPr>
            </a:p>
          </p:txBody>
        </p:sp>
      </p:grpSp>
      <p:sp>
        <p:nvSpPr>
          <p:cNvPr id="36" name="medicines_116842">
            <a:extLst>
              <a:ext uri="{FF2B5EF4-FFF2-40B4-BE49-F238E27FC236}">
                <a16:creationId xmlns:a16="http://schemas.microsoft.com/office/drawing/2014/main" id="{9FC75193-C937-4F16-9741-0F64D88DD3FF}"/>
              </a:ext>
            </a:extLst>
          </p:cNvPr>
          <p:cNvSpPr/>
          <p:nvPr/>
        </p:nvSpPr>
        <p:spPr>
          <a:xfrm>
            <a:off x="626647" y="2249122"/>
            <a:ext cx="255846" cy="241085"/>
          </a:xfrm>
          <a:custGeom>
            <a:avLst/>
            <a:gdLst>
              <a:gd name="T0" fmla="*/ 5929 w 6981"/>
              <a:gd name="T1" fmla="*/ 2080 h 6588"/>
              <a:gd name="T2" fmla="*/ 2558 w 6981"/>
              <a:gd name="T3" fmla="*/ 247 h 6588"/>
              <a:gd name="T4" fmla="*/ 1356 w 6981"/>
              <a:gd name="T5" fmla="*/ 121 h 6588"/>
              <a:gd name="T6" fmla="*/ 413 w 6981"/>
              <a:gd name="T7" fmla="*/ 889 h 6588"/>
              <a:gd name="T8" fmla="*/ 1052 w 6981"/>
              <a:gd name="T9" fmla="*/ 3041 h 6588"/>
              <a:gd name="T10" fmla="*/ 1326 w 6981"/>
              <a:gd name="T11" fmla="*/ 3191 h 6588"/>
              <a:gd name="T12" fmla="*/ 1078 w 6981"/>
              <a:gd name="T13" fmla="*/ 3653 h 6588"/>
              <a:gd name="T14" fmla="*/ 2289 w 6981"/>
              <a:gd name="T15" fmla="*/ 6439 h 6588"/>
              <a:gd name="T16" fmla="*/ 3070 w 6981"/>
              <a:gd name="T17" fmla="*/ 6588 h 6588"/>
              <a:gd name="T18" fmla="*/ 5062 w 6981"/>
              <a:gd name="T19" fmla="*/ 5223 h 6588"/>
              <a:gd name="T20" fmla="*/ 5118 w 6981"/>
              <a:gd name="T21" fmla="*/ 5063 h 6588"/>
              <a:gd name="T22" fmla="*/ 5236 w 6981"/>
              <a:gd name="T23" fmla="*/ 5068 h 6588"/>
              <a:gd name="T24" fmla="*/ 6568 w 6981"/>
              <a:gd name="T25" fmla="*/ 4235 h 6588"/>
              <a:gd name="T26" fmla="*/ 5929 w 6981"/>
              <a:gd name="T27" fmla="*/ 2080 h 6588"/>
              <a:gd name="T28" fmla="*/ 1586 w 6981"/>
              <a:gd name="T29" fmla="*/ 3852 h 6588"/>
              <a:gd name="T30" fmla="*/ 3072 w 6981"/>
              <a:gd name="T31" fmla="*/ 2833 h 6588"/>
              <a:gd name="T32" fmla="*/ 3392 w 6981"/>
              <a:gd name="T33" fmla="*/ 2867 h 6588"/>
              <a:gd name="T34" fmla="*/ 2244 w 6981"/>
              <a:gd name="T35" fmla="*/ 5811 h 6588"/>
              <a:gd name="T36" fmla="*/ 1586 w 6981"/>
              <a:gd name="T37" fmla="*/ 3852 h 6588"/>
              <a:gd name="T38" fmla="*/ 4554 w 6981"/>
              <a:gd name="T39" fmla="*/ 5024 h 6588"/>
              <a:gd name="T40" fmla="*/ 3069 w 6981"/>
              <a:gd name="T41" fmla="*/ 6043 h 6588"/>
              <a:gd name="T42" fmla="*/ 2749 w 6981"/>
              <a:gd name="T43" fmla="*/ 6009 h 6588"/>
              <a:gd name="T44" fmla="*/ 3897 w 6981"/>
              <a:gd name="T45" fmla="*/ 3065 h 6588"/>
              <a:gd name="T46" fmla="*/ 4554 w 6981"/>
              <a:gd name="T47" fmla="*/ 5024 h 6588"/>
              <a:gd name="T48" fmla="*/ 6088 w 6981"/>
              <a:gd name="T49" fmla="*/ 3976 h 6588"/>
              <a:gd name="T50" fmla="*/ 5208 w 6981"/>
              <a:gd name="T51" fmla="*/ 4523 h 6588"/>
              <a:gd name="T52" fmla="*/ 3852 w 6981"/>
              <a:gd name="T53" fmla="*/ 2439 h 6588"/>
              <a:gd name="T54" fmla="*/ 3070 w 6981"/>
              <a:gd name="T55" fmla="*/ 2289 h 6588"/>
              <a:gd name="T56" fmla="*/ 1706 w 6981"/>
              <a:gd name="T57" fmla="*/ 2779 h 6588"/>
              <a:gd name="T58" fmla="*/ 1312 w 6981"/>
              <a:gd name="T59" fmla="*/ 2564 h 6588"/>
              <a:gd name="T60" fmla="*/ 893 w 6981"/>
              <a:gd name="T61" fmla="*/ 1147 h 6588"/>
              <a:gd name="T62" fmla="*/ 1510 w 6981"/>
              <a:gd name="T63" fmla="*/ 643 h 6588"/>
              <a:gd name="T64" fmla="*/ 2297 w 6981"/>
              <a:gd name="T65" fmla="*/ 725 h 6588"/>
              <a:gd name="T66" fmla="*/ 5666 w 6981"/>
              <a:gd name="T67" fmla="*/ 2559 h 6588"/>
              <a:gd name="T68" fmla="*/ 6088 w 6981"/>
              <a:gd name="T69" fmla="*/ 3976 h 6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981" h="6588">
                <a:moveTo>
                  <a:pt x="5929" y="2080"/>
                </a:moveTo>
                <a:lnTo>
                  <a:pt x="2558" y="247"/>
                </a:lnTo>
                <a:cubicBezTo>
                  <a:pt x="2188" y="45"/>
                  <a:pt x="1760" y="0"/>
                  <a:pt x="1356" y="121"/>
                </a:cubicBezTo>
                <a:cubicBezTo>
                  <a:pt x="949" y="241"/>
                  <a:pt x="614" y="515"/>
                  <a:pt x="413" y="889"/>
                </a:cubicBezTo>
                <a:cubicBezTo>
                  <a:pt x="0" y="1659"/>
                  <a:pt x="285" y="2625"/>
                  <a:pt x="1052" y="3041"/>
                </a:cubicBezTo>
                <a:lnTo>
                  <a:pt x="1326" y="3191"/>
                </a:lnTo>
                <a:cubicBezTo>
                  <a:pt x="1228" y="3332"/>
                  <a:pt x="1144" y="3487"/>
                  <a:pt x="1078" y="3653"/>
                </a:cubicBezTo>
                <a:cubicBezTo>
                  <a:pt x="648" y="4756"/>
                  <a:pt x="1190" y="6005"/>
                  <a:pt x="2289" y="6439"/>
                </a:cubicBezTo>
                <a:cubicBezTo>
                  <a:pt x="2540" y="6537"/>
                  <a:pt x="2802" y="6588"/>
                  <a:pt x="3070" y="6588"/>
                </a:cubicBezTo>
                <a:cubicBezTo>
                  <a:pt x="3957" y="6588"/>
                  <a:pt x="4740" y="6052"/>
                  <a:pt x="5062" y="5223"/>
                </a:cubicBezTo>
                <a:cubicBezTo>
                  <a:pt x="5084" y="5169"/>
                  <a:pt x="5101" y="5116"/>
                  <a:pt x="5118" y="5063"/>
                </a:cubicBezTo>
                <a:cubicBezTo>
                  <a:pt x="5158" y="5065"/>
                  <a:pt x="5197" y="5068"/>
                  <a:pt x="5236" y="5068"/>
                </a:cubicBezTo>
                <a:cubicBezTo>
                  <a:pt x="5784" y="5068"/>
                  <a:pt x="6284" y="4764"/>
                  <a:pt x="6568" y="4235"/>
                </a:cubicBezTo>
                <a:cubicBezTo>
                  <a:pt x="6981" y="3463"/>
                  <a:pt x="6696" y="2497"/>
                  <a:pt x="5929" y="2080"/>
                </a:cubicBezTo>
                <a:close/>
                <a:moveTo>
                  <a:pt x="1586" y="3852"/>
                </a:moveTo>
                <a:cubicBezTo>
                  <a:pt x="1828" y="3233"/>
                  <a:pt x="2410" y="2833"/>
                  <a:pt x="3072" y="2833"/>
                </a:cubicBezTo>
                <a:cubicBezTo>
                  <a:pt x="3180" y="2833"/>
                  <a:pt x="3286" y="2844"/>
                  <a:pt x="3392" y="2867"/>
                </a:cubicBezTo>
                <a:lnTo>
                  <a:pt x="2244" y="5811"/>
                </a:lnTo>
                <a:cubicBezTo>
                  <a:pt x="1592" y="5413"/>
                  <a:pt x="1298" y="4589"/>
                  <a:pt x="1586" y="3852"/>
                </a:cubicBezTo>
                <a:close/>
                <a:moveTo>
                  <a:pt x="4554" y="5024"/>
                </a:moveTo>
                <a:cubicBezTo>
                  <a:pt x="4313" y="5643"/>
                  <a:pt x="3730" y="6043"/>
                  <a:pt x="3069" y="6043"/>
                </a:cubicBezTo>
                <a:cubicBezTo>
                  <a:pt x="2961" y="6043"/>
                  <a:pt x="2854" y="6032"/>
                  <a:pt x="2749" y="6009"/>
                </a:cubicBezTo>
                <a:lnTo>
                  <a:pt x="3897" y="3065"/>
                </a:lnTo>
                <a:cubicBezTo>
                  <a:pt x="4549" y="3463"/>
                  <a:pt x="4842" y="4288"/>
                  <a:pt x="4554" y="5024"/>
                </a:cubicBezTo>
                <a:close/>
                <a:moveTo>
                  <a:pt x="6088" y="3976"/>
                </a:moveTo>
                <a:cubicBezTo>
                  <a:pt x="5894" y="4335"/>
                  <a:pt x="5569" y="4533"/>
                  <a:pt x="5208" y="4523"/>
                </a:cubicBezTo>
                <a:cubicBezTo>
                  <a:pt x="5241" y="3635"/>
                  <a:pt x="4720" y="2780"/>
                  <a:pt x="3852" y="2439"/>
                </a:cubicBezTo>
                <a:cubicBezTo>
                  <a:pt x="3601" y="2340"/>
                  <a:pt x="3338" y="2289"/>
                  <a:pt x="3070" y="2289"/>
                </a:cubicBezTo>
                <a:cubicBezTo>
                  <a:pt x="2558" y="2289"/>
                  <a:pt x="2081" y="2468"/>
                  <a:pt x="1706" y="2779"/>
                </a:cubicBezTo>
                <a:lnTo>
                  <a:pt x="1312" y="2564"/>
                </a:lnTo>
                <a:cubicBezTo>
                  <a:pt x="808" y="2289"/>
                  <a:pt x="620" y="1655"/>
                  <a:pt x="893" y="1147"/>
                </a:cubicBezTo>
                <a:cubicBezTo>
                  <a:pt x="1025" y="901"/>
                  <a:pt x="1245" y="721"/>
                  <a:pt x="1510" y="643"/>
                </a:cubicBezTo>
                <a:cubicBezTo>
                  <a:pt x="1776" y="564"/>
                  <a:pt x="2054" y="593"/>
                  <a:pt x="2297" y="725"/>
                </a:cubicBezTo>
                <a:lnTo>
                  <a:pt x="5666" y="2559"/>
                </a:lnTo>
                <a:cubicBezTo>
                  <a:pt x="6173" y="2833"/>
                  <a:pt x="6361" y="3468"/>
                  <a:pt x="6088" y="3976"/>
                </a:cubicBezTo>
                <a:close/>
              </a:path>
            </a:pathLst>
          </a:cu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81A255F8-4C4E-4075-84D4-73D37061539E}"/>
              </a:ext>
            </a:extLst>
          </p:cNvPr>
          <p:cNvSpPr txBox="1"/>
          <p:nvPr/>
        </p:nvSpPr>
        <p:spPr>
          <a:xfrm>
            <a:off x="473550" y="2620904"/>
            <a:ext cx="3326706" cy="10237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v"/>
            </a:pPr>
            <a:r>
              <a:rPr lang="zh-CN" altLang="zh-CN" sz="1400" kern="100" dirty="0">
                <a:effectLst/>
                <a:cs typeface="+mn-ea"/>
                <a:sym typeface="+mn-lt"/>
              </a:rPr>
              <a:t>适用于治疗 </a:t>
            </a:r>
            <a:r>
              <a:rPr lang="en-US" altLang="zh-CN" sz="1400" kern="100" dirty="0">
                <a:effectLst/>
                <a:cs typeface="+mn-ea"/>
                <a:sym typeface="+mn-lt"/>
              </a:rPr>
              <a:t>HIV-1</a:t>
            </a:r>
            <a:r>
              <a:rPr lang="zh-CN" altLang="zh-CN" sz="1400" kern="100" dirty="0">
                <a:effectLst/>
                <a:cs typeface="+mn-ea"/>
                <a:sym typeface="+mn-lt"/>
              </a:rPr>
              <a:t>感染且无</a:t>
            </a:r>
            <a:r>
              <a:rPr lang="en-US" altLang="zh-CN" sz="1400" kern="100" dirty="0">
                <a:effectLst/>
                <a:cs typeface="+mn-ea"/>
                <a:sym typeface="+mn-lt"/>
              </a:rPr>
              <a:t>NNRTI</a:t>
            </a:r>
            <a:r>
              <a:rPr lang="zh-CN" altLang="zh-CN" sz="1400" kern="100" dirty="0">
                <a:effectLst/>
                <a:cs typeface="+mn-ea"/>
                <a:sym typeface="+mn-lt"/>
              </a:rPr>
              <a:t>类药物、拉米夫定或替诺福韦病毒耐药性的既往或现有证据的成年患者</a:t>
            </a:r>
            <a:r>
              <a:rPr lang="en-US" altLang="zh-CN" sz="1400" kern="100" baseline="30000" dirty="0">
                <a:effectLst/>
                <a:cs typeface="+mn-ea"/>
                <a:sym typeface="+mn-lt"/>
              </a:rPr>
              <a:t>1</a:t>
            </a:r>
            <a:endParaRPr lang="zh-CN" altLang="en-US" sz="1400" baseline="30000" dirty="0">
              <a:cs typeface="+mn-ea"/>
              <a:sym typeface="+mn-lt"/>
            </a:endParaRPr>
          </a:p>
        </p:txBody>
      </p:sp>
      <p:sp>
        <p:nvSpPr>
          <p:cNvPr id="20" name="iŝlíďe">
            <a:extLst>
              <a:ext uri="{FF2B5EF4-FFF2-40B4-BE49-F238E27FC236}">
                <a16:creationId xmlns:a16="http://schemas.microsoft.com/office/drawing/2014/main" id="{21162E17-8C4F-4C12-B45F-B5CD3601544A}"/>
              </a:ext>
            </a:extLst>
          </p:cNvPr>
          <p:cNvSpPr txBox="1"/>
          <p:nvPr/>
        </p:nvSpPr>
        <p:spPr>
          <a:xfrm>
            <a:off x="955108" y="3959597"/>
            <a:ext cx="2465155" cy="4985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kumimoji="0" sz="14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zh-CN" altLang="en-US" sz="2000" dirty="0">
                <a:solidFill>
                  <a:srgbClr val="00857C"/>
                </a:solidFill>
                <a:cs typeface="+mn-ea"/>
                <a:sym typeface="+mn-lt"/>
              </a:rPr>
              <a:t>用法用量</a:t>
            </a:r>
            <a:endParaRPr lang="en-US" altLang="zh-CN" sz="2000" dirty="0">
              <a:solidFill>
                <a:srgbClr val="00857C"/>
              </a:solidFill>
              <a:cs typeface="+mn-ea"/>
              <a:sym typeface="+mn-lt"/>
            </a:endParaRPr>
          </a:p>
        </p:txBody>
      </p:sp>
      <p:sp>
        <p:nvSpPr>
          <p:cNvPr id="38" name="cough_160981">
            <a:extLst>
              <a:ext uri="{FF2B5EF4-FFF2-40B4-BE49-F238E27FC236}">
                <a16:creationId xmlns:a16="http://schemas.microsoft.com/office/drawing/2014/main" id="{A9F3E53F-2176-438E-A016-2813416B5E79}"/>
              </a:ext>
            </a:extLst>
          </p:cNvPr>
          <p:cNvSpPr/>
          <p:nvPr/>
        </p:nvSpPr>
        <p:spPr>
          <a:xfrm>
            <a:off x="630879" y="4107156"/>
            <a:ext cx="274450" cy="274551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605765" h="605987">
                <a:moveTo>
                  <a:pt x="25902" y="478577"/>
                </a:moveTo>
                <a:cubicBezTo>
                  <a:pt x="32673" y="476076"/>
                  <a:pt x="39351" y="479410"/>
                  <a:pt x="41763" y="486264"/>
                </a:cubicBezTo>
                <a:cubicBezTo>
                  <a:pt x="44174" y="492933"/>
                  <a:pt x="40742" y="499694"/>
                  <a:pt x="34528" y="502009"/>
                </a:cubicBezTo>
                <a:lnTo>
                  <a:pt x="16256" y="508214"/>
                </a:lnTo>
                <a:cubicBezTo>
                  <a:pt x="8373" y="510159"/>
                  <a:pt x="2900" y="505899"/>
                  <a:pt x="953" y="500527"/>
                </a:cubicBezTo>
                <a:cubicBezTo>
                  <a:pt x="-1552" y="493859"/>
                  <a:pt x="1880" y="487098"/>
                  <a:pt x="8094" y="484782"/>
                </a:cubicBezTo>
                <a:close/>
                <a:moveTo>
                  <a:pt x="122099" y="443964"/>
                </a:moveTo>
                <a:cubicBezTo>
                  <a:pt x="128879" y="441923"/>
                  <a:pt x="135567" y="445447"/>
                  <a:pt x="137424" y="451569"/>
                </a:cubicBezTo>
                <a:cubicBezTo>
                  <a:pt x="139932" y="458246"/>
                  <a:pt x="136496" y="465109"/>
                  <a:pt x="130273" y="467428"/>
                </a:cubicBezTo>
                <a:lnTo>
                  <a:pt x="111975" y="473641"/>
                </a:lnTo>
                <a:cubicBezTo>
                  <a:pt x="108353" y="474940"/>
                  <a:pt x="105752" y="474105"/>
                  <a:pt x="104730" y="473641"/>
                </a:cubicBezTo>
                <a:cubicBezTo>
                  <a:pt x="103244" y="475589"/>
                  <a:pt x="101294" y="476980"/>
                  <a:pt x="98972" y="477907"/>
                </a:cubicBezTo>
                <a:lnTo>
                  <a:pt x="59961" y="491912"/>
                </a:lnTo>
                <a:cubicBezTo>
                  <a:pt x="51788" y="493859"/>
                  <a:pt x="46587" y="489593"/>
                  <a:pt x="44543" y="484214"/>
                </a:cubicBezTo>
                <a:cubicBezTo>
                  <a:pt x="42128" y="477537"/>
                  <a:pt x="45565" y="470766"/>
                  <a:pt x="51788" y="468448"/>
                </a:cubicBezTo>
                <a:lnTo>
                  <a:pt x="90798" y="454444"/>
                </a:lnTo>
                <a:cubicBezTo>
                  <a:pt x="93120" y="453980"/>
                  <a:pt x="95628" y="453980"/>
                  <a:pt x="97950" y="454444"/>
                </a:cubicBezTo>
                <a:cubicBezTo>
                  <a:pt x="99436" y="452496"/>
                  <a:pt x="101387" y="451105"/>
                  <a:pt x="103801" y="450085"/>
                </a:cubicBezTo>
                <a:close/>
                <a:moveTo>
                  <a:pt x="107245" y="400218"/>
                </a:moveTo>
                <a:lnTo>
                  <a:pt x="126470" y="400218"/>
                </a:lnTo>
                <a:cubicBezTo>
                  <a:pt x="133249" y="400218"/>
                  <a:pt x="138450" y="405497"/>
                  <a:pt x="138450" y="412627"/>
                </a:cubicBezTo>
                <a:cubicBezTo>
                  <a:pt x="138450" y="419850"/>
                  <a:pt x="133156" y="425128"/>
                  <a:pt x="126470" y="425128"/>
                </a:cubicBezTo>
                <a:lnTo>
                  <a:pt x="107245" y="425128"/>
                </a:lnTo>
                <a:cubicBezTo>
                  <a:pt x="100558" y="425128"/>
                  <a:pt x="95264" y="419294"/>
                  <a:pt x="95264" y="412627"/>
                </a:cubicBezTo>
                <a:cubicBezTo>
                  <a:pt x="95264" y="405497"/>
                  <a:pt x="100558" y="400218"/>
                  <a:pt x="107245" y="400218"/>
                </a:cubicBezTo>
                <a:close/>
                <a:moveTo>
                  <a:pt x="12071" y="399866"/>
                </a:moveTo>
                <a:lnTo>
                  <a:pt x="31384" y="399866"/>
                </a:lnTo>
                <a:cubicBezTo>
                  <a:pt x="33706" y="399866"/>
                  <a:pt x="35563" y="400792"/>
                  <a:pt x="37513" y="401811"/>
                </a:cubicBezTo>
                <a:cubicBezTo>
                  <a:pt x="39370" y="400329"/>
                  <a:pt x="41412" y="399866"/>
                  <a:pt x="43734" y="399866"/>
                </a:cubicBezTo>
                <a:lnTo>
                  <a:pt x="81710" y="399866"/>
                </a:lnTo>
                <a:cubicBezTo>
                  <a:pt x="88396" y="399866"/>
                  <a:pt x="93781" y="405608"/>
                  <a:pt x="93781" y="412275"/>
                </a:cubicBezTo>
                <a:cubicBezTo>
                  <a:pt x="93781" y="418942"/>
                  <a:pt x="88396" y="424776"/>
                  <a:pt x="81618" y="424776"/>
                </a:cubicBezTo>
                <a:lnTo>
                  <a:pt x="43641" y="424776"/>
                </a:lnTo>
                <a:cubicBezTo>
                  <a:pt x="41227" y="424776"/>
                  <a:pt x="39370" y="423758"/>
                  <a:pt x="37420" y="422832"/>
                </a:cubicBezTo>
                <a:cubicBezTo>
                  <a:pt x="35563" y="424313"/>
                  <a:pt x="33613" y="424776"/>
                  <a:pt x="31199" y="424776"/>
                </a:cubicBezTo>
                <a:lnTo>
                  <a:pt x="12071" y="424776"/>
                </a:lnTo>
                <a:cubicBezTo>
                  <a:pt x="5386" y="424776"/>
                  <a:pt x="0" y="418942"/>
                  <a:pt x="0" y="412275"/>
                </a:cubicBezTo>
                <a:cubicBezTo>
                  <a:pt x="0" y="405145"/>
                  <a:pt x="5386" y="399866"/>
                  <a:pt x="12071" y="399866"/>
                </a:cubicBezTo>
                <a:close/>
                <a:moveTo>
                  <a:pt x="59961" y="331976"/>
                </a:moveTo>
                <a:lnTo>
                  <a:pt x="98972" y="345894"/>
                </a:lnTo>
                <a:cubicBezTo>
                  <a:pt x="101294" y="346914"/>
                  <a:pt x="103244" y="348306"/>
                  <a:pt x="104730" y="350254"/>
                </a:cubicBezTo>
                <a:cubicBezTo>
                  <a:pt x="105752" y="349790"/>
                  <a:pt x="108353" y="348863"/>
                  <a:pt x="111975" y="350254"/>
                </a:cubicBezTo>
                <a:lnTo>
                  <a:pt x="130273" y="356471"/>
                </a:lnTo>
                <a:cubicBezTo>
                  <a:pt x="136496" y="358790"/>
                  <a:pt x="139932" y="365564"/>
                  <a:pt x="137424" y="372244"/>
                </a:cubicBezTo>
                <a:cubicBezTo>
                  <a:pt x="135567" y="378461"/>
                  <a:pt x="128879" y="381801"/>
                  <a:pt x="122099" y="379945"/>
                </a:cubicBezTo>
                <a:lnTo>
                  <a:pt x="103801" y="373729"/>
                </a:lnTo>
                <a:cubicBezTo>
                  <a:pt x="101387" y="372801"/>
                  <a:pt x="99436" y="371409"/>
                  <a:pt x="97950" y="369461"/>
                </a:cubicBezTo>
                <a:cubicBezTo>
                  <a:pt x="95628" y="369924"/>
                  <a:pt x="93120" y="369924"/>
                  <a:pt x="90798" y="369461"/>
                </a:cubicBezTo>
                <a:lnTo>
                  <a:pt x="51788" y="355450"/>
                </a:lnTo>
                <a:cubicBezTo>
                  <a:pt x="45565" y="353131"/>
                  <a:pt x="42128" y="346265"/>
                  <a:pt x="44543" y="339584"/>
                </a:cubicBezTo>
                <a:cubicBezTo>
                  <a:pt x="46587" y="334296"/>
                  <a:pt x="51788" y="329935"/>
                  <a:pt x="59961" y="331976"/>
                </a:cubicBezTo>
                <a:close/>
                <a:moveTo>
                  <a:pt x="16346" y="316499"/>
                </a:moveTo>
                <a:lnTo>
                  <a:pt x="34730" y="322713"/>
                </a:lnTo>
                <a:cubicBezTo>
                  <a:pt x="40858" y="325031"/>
                  <a:pt x="44386" y="331801"/>
                  <a:pt x="41879" y="338478"/>
                </a:cubicBezTo>
                <a:cubicBezTo>
                  <a:pt x="39372" y="345155"/>
                  <a:pt x="32687" y="348494"/>
                  <a:pt x="25909" y="346175"/>
                </a:cubicBezTo>
                <a:lnTo>
                  <a:pt x="8175" y="339962"/>
                </a:lnTo>
                <a:cubicBezTo>
                  <a:pt x="2047" y="337643"/>
                  <a:pt x="-1481" y="330874"/>
                  <a:pt x="1026" y="324196"/>
                </a:cubicBezTo>
                <a:cubicBezTo>
                  <a:pt x="2976" y="318818"/>
                  <a:pt x="8454" y="314552"/>
                  <a:pt x="16346" y="316499"/>
                </a:cubicBezTo>
                <a:close/>
                <a:moveTo>
                  <a:pt x="417160" y="8"/>
                </a:moveTo>
                <a:cubicBezTo>
                  <a:pt x="438630" y="-166"/>
                  <a:pt x="459938" y="2384"/>
                  <a:pt x="480364" y="9382"/>
                </a:cubicBezTo>
                <a:cubicBezTo>
                  <a:pt x="544334" y="30981"/>
                  <a:pt x="591870" y="96240"/>
                  <a:pt x="603012" y="168267"/>
                </a:cubicBezTo>
                <a:cubicBezTo>
                  <a:pt x="614060" y="239829"/>
                  <a:pt x="591035" y="315286"/>
                  <a:pt x="548698" y="372110"/>
                </a:cubicBezTo>
                <a:cubicBezTo>
                  <a:pt x="538020" y="385551"/>
                  <a:pt x="526043" y="398065"/>
                  <a:pt x="518802" y="413917"/>
                </a:cubicBezTo>
                <a:cubicBezTo>
                  <a:pt x="499676" y="477879"/>
                  <a:pt x="500140" y="562326"/>
                  <a:pt x="507846" y="605987"/>
                </a:cubicBezTo>
                <a:lnTo>
                  <a:pt x="308230" y="605987"/>
                </a:lnTo>
                <a:cubicBezTo>
                  <a:pt x="310644" y="579012"/>
                  <a:pt x="309158" y="551666"/>
                  <a:pt x="302938" y="525711"/>
                </a:cubicBezTo>
                <a:cubicBezTo>
                  <a:pt x="299967" y="512733"/>
                  <a:pt x="295232" y="498828"/>
                  <a:pt x="285112" y="491134"/>
                </a:cubicBezTo>
                <a:cubicBezTo>
                  <a:pt x="269235" y="478620"/>
                  <a:pt x="247602" y="485943"/>
                  <a:pt x="228383" y="488817"/>
                </a:cubicBezTo>
                <a:cubicBezTo>
                  <a:pt x="209257" y="491598"/>
                  <a:pt x="183261" y="483440"/>
                  <a:pt x="182704" y="462305"/>
                </a:cubicBezTo>
                <a:cubicBezTo>
                  <a:pt x="181868" y="445527"/>
                  <a:pt x="198209" y="427265"/>
                  <a:pt x="188089" y="414751"/>
                </a:cubicBezTo>
                <a:cubicBezTo>
                  <a:pt x="184746" y="410394"/>
                  <a:pt x="178433" y="408540"/>
                  <a:pt x="176019" y="403257"/>
                </a:cubicBezTo>
                <a:cubicBezTo>
                  <a:pt x="170727" y="392132"/>
                  <a:pt x="185211" y="381658"/>
                  <a:pt x="187532" y="369143"/>
                </a:cubicBezTo>
                <a:cubicBezTo>
                  <a:pt x="192267" y="341241"/>
                  <a:pt x="139438" y="337348"/>
                  <a:pt x="139902" y="309538"/>
                </a:cubicBezTo>
                <a:cubicBezTo>
                  <a:pt x="139902" y="282285"/>
                  <a:pt x="199045" y="285344"/>
                  <a:pt x="199045" y="191441"/>
                </a:cubicBezTo>
                <a:cubicBezTo>
                  <a:pt x="201087" y="159275"/>
                  <a:pt x="200066" y="125626"/>
                  <a:pt x="212043" y="95869"/>
                </a:cubicBezTo>
                <a:cubicBezTo>
                  <a:pt x="235068" y="39602"/>
                  <a:pt x="297089" y="16613"/>
                  <a:pt x="352981" y="6972"/>
                </a:cubicBezTo>
                <a:cubicBezTo>
                  <a:pt x="374057" y="3079"/>
                  <a:pt x="395689" y="182"/>
                  <a:pt x="417160" y="8"/>
                </a:cubicBezTo>
                <a:close/>
              </a:path>
            </a:pathLst>
          </a:custGeom>
          <a:noFill/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FF46CBAE-5667-41FF-8E5E-2B7714546787}"/>
              </a:ext>
            </a:extLst>
          </p:cNvPr>
          <p:cNvSpPr txBox="1"/>
          <p:nvPr/>
        </p:nvSpPr>
        <p:spPr>
          <a:xfrm>
            <a:off x="604958" y="4493929"/>
            <a:ext cx="3216362" cy="7005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v"/>
            </a:pPr>
            <a:r>
              <a:rPr lang="zh-CN" altLang="zh-CN" sz="1400" kern="100" dirty="0">
                <a:latin typeface="+mn-ea"/>
                <a:cs typeface="+mn-ea"/>
                <a:sym typeface="+mn-lt"/>
              </a:rPr>
              <a:t>每天一次，每次一片，口服用药，</a:t>
            </a:r>
            <a:r>
              <a:rPr lang="zh-CN" altLang="zh-CN" sz="1400" b="1" kern="100" dirty="0">
                <a:solidFill>
                  <a:srgbClr val="EB842C"/>
                </a:solidFill>
                <a:latin typeface="+mn-ea"/>
                <a:cs typeface="+mn-ea"/>
                <a:sym typeface="+mn-lt"/>
              </a:rPr>
              <a:t>可与或不与食物同服</a:t>
            </a:r>
            <a:r>
              <a:rPr lang="zh-CN" altLang="zh-CN" sz="1400" kern="100" dirty="0">
                <a:latin typeface="+mn-ea"/>
                <a:cs typeface="+mn-ea"/>
                <a:sym typeface="+mn-lt"/>
              </a:rPr>
              <a:t>；</a:t>
            </a:r>
            <a:r>
              <a:rPr lang="en-US" altLang="zh-CN" sz="1400" kern="100" baseline="30000" dirty="0">
                <a:latin typeface="+mn-ea"/>
                <a:cs typeface="+mn-ea"/>
                <a:sym typeface="+mn-lt"/>
              </a:rPr>
              <a:t>1</a:t>
            </a:r>
            <a:endParaRPr lang="zh-CN" altLang="zh-CN" sz="1400" kern="100" baseline="30000" dirty="0">
              <a:latin typeface="+mn-ea"/>
              <a:cs typeface="+mn-ea"/>
              <a:sym typeface="+mn-lt"/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8273B1A1-5516-4CA8-9AB8-8291370C4C10}"/>
              </a:ext>
            </a:extLst>
          </p:cNvPr>
          <p:cNvSpPr txBox="1"/>
          <p:nvPr/>
        </p:nvSpPr>
        <p:spPr>
          <a:xfrm>
            <a:off x="292983" y="6360669"/>
            <a:ext cx="724352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900" b="0" u="none" strike="noStrike" baseline="0" dirty="0">
                <a:cs typeface="+mn-ea"/>
                <a:sym typeface="+mn-lt"/>
              </a:rPr>
              <a:t>参考文献</a:t>
            </a:r>
            <a:endParaRPr lang="en-US" altLang="zh-CN" sz="900" b="0" u="none" strike="noStrike" baseline="0" dirty="0">
              <a:cs typeface="+mn-ea"/>
              <a:sym typeface="+mn-lt"/>
            </a:endParaRPr>
          </a:p>
          <a:p>
            <a:r>
              <a:rPr lang="en-US" altLang="zh-CN" sz="900" dirty="0">
                <a:cs typeface="+mn-ea"/>
                <a:sym typeface="+mn-lt"/>
              </a:rPr>
              <a:t>1.</a:t>
            </a:r>
            <a:r>
              <a:rPr lang="zh-CN" altLang="en-US" sz="900" b="0" u="none" strike="noStrike" baseline="0" dirty="0">
                <a:cs typeface="+mn-ea"/>
                <a:sym typeface="+mn-lt"/>
              </a:rPr>
              <a:t>多拉米替片说明书</a:t>
            </a:r>
            <a:endParaRPr lang="en-US" altLang="zh-CN" sz="900" b="0" u="none" strike="noStrike" baseline="0" dirty="0">
              <a:cs typeface="+mn-ea"/>
              <a:sym typeface="+mn-lt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E66F5463-092C-4023-8AE9-AA4F079408A9}"/>
              </a:ext>
            </a:extLst>
          </p:cNvPr>
          <p:cNvSpPr txBox="1"/>
          <p:nvPr/>
        </p:nvSpPr>
        <p:spPr>
          <a:xfrm>
            <a:off x="451915" y="1577830"/>
            <a:ext cx="11335316" cy="461665"/>
          </a:xfrm>
          <a:prstGeom prst="rect">
            <a:avLst/>
          </a:prstGeom>
          <a:solidFill>
            <a:srgbClr val="00857C"/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sz="2000" b="1" spc="-5" dirty="0">
                <a:solidFill>
                  <a:schemeClr val="bg1"/>
                </a:solidFill>
                <a:cs typeface="+mn-ea"/>
                <a:sym typeface="+mn-lt"/>
              </a:rPr>
              <a:t>多拉米替片革命性创新</a:t>
            </a:r>
            <a:r>
              <a:rPr lang="en-US" altLang="zh-CN" sz="2000" b="1" spc="-5" dirty="0">
                <a:solidFill>
                  <a:schemeClr val="bg1"/>
                </a:solidFill>
                <a:cs typeface="+mn-ea"/>
                <a:sym typeface="+mn-lt"/>
              </a:rPr>
              <a:t>NNRTI(</a:t>
            </a:r>
            <a:r>
              <a:rPr lang="zh-CN" altLang="en-US" sz="2000" b="1" spc="-5" dirty="0">
                <a:solidFill>
                  <a:schemeClr val="bg1"/>
                </a:solidFill>
                <a:cs typeface="+mn-ea"/>
                <a:sym typeface="+mn-lt"/>
              </a:rPr>
              <a:t>非核苷逆转录酶抑制剂</a:t>
            </a:r>
            <a:r>
              <a:rPr lang="en-US" altLang="zh-CN" sz="2000" b="1" spc="-5" dirty="0">
                <a:solidFill>
                  <a:schemeClr val="bg1"/>
                </a:solidFill>
                <a:cs typeface="+mn-ea"/>
                <a:sym typeface="+mn-lt"/>
              </a:rPr>
              <a:t>)</a:t>
            </a:r>
            <a:r>
              <a:rPr lang="zh-CN" altLang="en-US" sz="2400" b="1" spc="-5" dirty="0">
                <a:solidFill>
                  <a:srgbClr val="FFC000"/>
                </a:solidFill>
                <a:cs typeface="+mn-ea"/>
                <a:sym typeface="+mn-lt"/>
              </a:rPr>
              <a:t> </a:t>
            </a:r>
            <a:r>
              <a:rPr lang="zh-CN" altLang="en-US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填补目录空白</a:t>
            </a:r>
          </a:p>
        </p:txBody>
      </p: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61404401-DE72-40CD-9160-664584055F61}"/>
              </a:ext>
            </a:extLst>
          </p:cNvPr>
          <p:cNvCxnSpPr>
            <a:cxnSpLocks/>
          </p:cNvCxnSpPr>
          <p:nvPr/>
        </p:nvCxnSpPr>
        <p:spPr>
          <a:xfrm>
            <a:off x="4315379" y="2581972"/>
            <a:ext cx="0" cy="2456823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1" name="表格 7">
            <a:extLst>
              <a:ext uri="{FF2B5EF4-FFF2-40B4-BE49-F238E27FC236}">
                <a16:creationId xmlns:a16="http://schemas.microsoft.com/office/drawing/2014/main" id="{6029E117-0D73-4E3E-BFD3-5985E155BB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6728918"/>
              </p:ext>
            </p:extLst>
          </p:nvPr>
        </p:nvGraphicFramePr>
        <p:xfrm>
          <a:off x="4716436" y="2177588"/>
          <a:ext cx="3250709" cy="3333798"/>
        </p:xfrm>
        <a:graphic>
          <a:graphicData uri="http://schemas.openxmlformats.org/drawingml/2006/table">
            <a:tbl>
              <a:tblPr firstRow="1" bandRow="1">
                <a:tableStyleId>{5DA37D80-6434-44D0-A028-1B22A696006F}</a:tableStyleId>
              </a:tblPr>
              <a:tblGrid>
                <a:gridCol w="3250709">
                  <a:extLst>
                    <a:ext uri="{9D8B030D-6E8A-4147-A177-3AD203B41FA5}">
                      <a16:colId xmlns:a16="http://schemas.microsoft.com/office/drawing/2014/main" val="1344382838"/>
                    </a:ext>
                  </a:extLst>
                </a:gridCol>
              </a:tblGrid>
              <a:tr h="7713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注册规格</a:t>
                      </a:r>
                      <a:endParaRPr lang="en-US" altLang="zh-CN" sz="1400" b="1" dirty="0">
                        <a:solidFill>
                          <a:srgbClr val="00857C"/>
                        </a:solidFill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多拉韦林</a:t>
                      </a:r>
                      <a:r>
                        <a:rPr lang="en-US" altLang="zh-CN" sz="1400" b="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100mg/</a:t>
                      </a:r>
                      <a:r>
                        <a:rPr lang="zh-CN" altLang="en-US" sz="1400" b="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拉米夫定</a:t>
                      </a:r>
                      <a:r>
                        <a:rPr lang="en-US" altLang="zh-CN" sz="1400" b="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300mg      /</a:t>
                      </a:r>
                      <a:r>
                        <a:rPr lang="zh-CN" altLang="en-US" sz="1400" b="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富马酸替诺福韦二吡呋酯</a:t>
                      </a:r>
                      <a:r>
                        <a:rPr lang="en-US" altLang="zh-CN" sz="1400" b="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300mg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9110023"/>
                  </a:ext>
                </a:extLst>
              </a:tr>
              <a:tr h="70451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有效注册证号</a:t>
                      </a:r>
                      <a:endParaRPr lang="en-US" altLang="zh-CN" sz="1400" b="1" dirty="0">
                        <a:solidFill>
                          <a:srgbClr val="00857C"/>
                        </a:solidFill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国药准字</a:t>
                      </a:r>
                      <a:r>
                        <a:rPr lang="en-US" altLang="zh-CN" sz="1400" b="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HJ20200066 </a:t>
                      </a:r>
                      <a:endParaRPr lang="zh-CN" altLang="en-US" sz="1400" b="0" dirty="0"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630710"/>
                  </a:ext>
                </a:extLst>
              </a:tr>
              <a:tr h="6045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中国大陆首次获批时间</a:t>
                      </a:r>
                      <a:endParaRPr lang="en-US" altLang="zh-CN" sz="1400" b="1" dirty="0">
                        <a:solidFill>
                          <a:srgbClr val="00857C"/>
                        </a:solidFill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2020</a:t>
                      </a:r>
                      <a:r>
                        <a:rPr lang="zh-CN" altLang="zh-CN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年</a:t>
                      </a:r>
                      <a:r>
                        <a:rPr lang="en-US" altLang="zh-CN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12</a:t>
                      </a:r>
                      <a:r>
                        <a:rPr lang="zh-CN" altLang="zh-CN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月</a:t>
                      </a:r>
                      <a:r>
                        <a:rPr lang="en-US" altLang="zh-CN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29</a:t>
                      </a:r>
                      <a:r>
                        <a:rPr lang="zh-CN" altLang="zh-CN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日</a:t>
                      </a:r>
                      <a:endParaRPr lang="en-US" altLang="zh-CN" sz="1400" dirty="0"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3891059"/>
                  </a:ext>
                </a:extLst>
              </a:tr>
              <a:tr h="6045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目前大陆地区通用名药品的上市情况</a:t>
                      </a:r>
                      <a:endParaRPr lang="en-US" altLang="zh-CN" sz="1400" b="1" dirty="0">
                        <a:solidFill>
                          <a:srgbClr val="00857C"/>
                        </a:solidFill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独家</a:t>
                      </a:r>
                      <a:endParaRPr lang="en-US" altLang="zh-CN" sz="1400" dirty="0"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9320454"/>
                  </a:ext>
                </a:extLst>
              </a:tr>
              <a:tr h="64888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全球首个上市国家</a:t>
                      </a:r>
                      <a:r>
                        <a:rPr lang="en-US" altLang="zh-CN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地区及上市时间</a:t>
                      </a:r>
                      <a:endParaRPr lang="en-US" altLang="zh-CN" sz="1400" b="1" dirty="0">
                        <a:solidFill>
                          <a:srgbClr val="00857C"/>
                        </a:solidFill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美国 </a:t>
                      </a:r>
                      <a:r>
                        <a:rPr lang="en-US" altLang="zh-CN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/ 2018</a:t>
                      </a:r>
                      <a:r>
                        <a:rPr lang="zh-CN" altLang="en-US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年</a:t>
                      </a:r>
                      <a:r>
                        <a:rPr lang="en-US" altLang="zh-CN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08</a:t>
                      </a:r>
                      <a:r>
                        <a:rPr lang="zh-CN" altLang="en-US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月</a:t>
                      </a:r>
                      <a:r>
                        <a:rPr lang="en-US" altLang="zh-CN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30</a:t>
                      </a:r>
                      <a:r>
                        <a:rPr lang="zh-CN" altLang="en-US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日 </a:t>
                      </a:r>
                      <a:endParaRPr lang="en-US" altLang="zh-CN" sz="1400" dirty="0"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6211246"/>
                  </a:ext>
                </a:extLst>
              </a:tr>
            </a:tbl>
          </a:graphicData>
        </a:graphic>
      </p:graphicFrame>
      <p:graphicFrame>
        <p:nvGraphicFramePr>
          <p:cNvPr id="24" name="表格 7">
            <a:extLst>
              <a:ext uri="{FF2B5EF4-FFF2-40B4-BE49-F238E27FC236}">
                <a16:creationId xmlns:a16="http://schemas.microsoft.com/office/drawing/2014/main" id="{D21A1C9A-B433-4E18-A19E-9BA9209FD5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483676"/>
              </p:ext>
            </p:extLst>
          </p:nvPr>
        </p:nvGraphicFramePr>
        <p:xfrm>
          <a:off x="8281679" y="2112949"/>
          <a:ext cx="3436771" cy="3503651"/>
        </p:xfrm>
        <a:graphic>
          <a:graphicData uri="http://schemas.openxmlformats.org/drawingml/2006/table">
            <a:tbl>
              <a:tblPr firstRow="1" bandRow="1">
                <a:tableStyleId>{5DA37D80-6434-44D0-A028-1B22A696006F}</a:tableStyleId>
              </a:tblPr>
              <a:tblGrid>
                <a:gridCol w="3436771">
                  <a:extLst>
                    <a:ext uri="{9D8B030D-6E8A-4147-A177-3AD203B41FA5}">
                      <a16:colId xmlns:a16="http://schemas.microsoft.com/office/drawing/2014/main" val="1344382838"/>
                    </a:ext>
                  </a:extLst>
                </a:gridCol>
              </a:tblGrid>
              <a:tr h="82275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专利号</a:t>
                      </a:r>
                      <a:endParaRPr lang="en-US" altLang="zh-CN" sz="1400" b="1" dirty="0">
                        <a:solidFill>
                          <a:srgbClr val="00857C"/>
                        </a:solidFill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ZL201180018074.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8111516"/>
                  </a:ext>
                </a:extLst>
              </a:tr>
              <a:tr h="7222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是否为化合物专利</a:t>
                      </a:r>
                      <a:endParaRPr lang="en-US" altLang="zh-CN" sz="1400" dirty="0">
                        <a:solidFill>
                          <a:srgbClr val="00857C"/>
                        </a:solidFill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是 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0682773"/>
                  </a:ext>
                </a:extLst>
              </a:tr>
              <a:tr h="65496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专利权期限届满日</a:t>
                      </a:r>
                      <a:endParaRPr lang="en-US" altLang="zh-CN" sz="1400" dirty="0">
                        <a:solidFill>
                          <a:srgbClr val="00857C"/>
                        </a:solidFill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2031 </a:t>
                      </a: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年 </a:t>
                      </a: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3 </a:t>
                      </a: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月 </a:t>
                      </a: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27 </a:t>
                      </a: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日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9598273"/>
                  </a:ext>
                </a:extLst>
              </a:tr>
              <a:tr h="58144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是否为</a:t>
                      </a:r>
                      <a:r>
                        <a:rPr lang="en-US" altLang="zh-CN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OTC</a:t>
                      </a: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药品</a:t>
                      </a:r>
                      <a:endParaRPr lang="en-US" altLang="zh-CN" sz="1400" dirty="0">
                        <a:solidFill>
                          <a:srgbClr val="00857C"/>
                        </a:solidFill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lang="en-US" altLang="zh-CN" sz="1400" dirty="0"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4062761"/>
                  </a:ext>
                </a:extLst>
              </a:tr>
              <a:tr h="7222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参照药品建议</a:t>
                      </a:r>
                      <a:endParaRPr lang="en-US" altLang="zh-CN" sz="1400" b="1" dirty="0">
                        <a:solidFill>
                          <a:srgbClr val="00857C"/>
                        </a:solidFill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zh-CN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艾考恩丙替片</a:t>
                      </a:r>
                      <a:endParaRPr lang="zh-CN" altLang="en-US" sz="1400" dirty="0"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9061947"/>
                  </a:ext>
                </a:extLst>
              </a:tr>
            </a:tbl>
          </a:graphicData>
        </a:graphic>
      </p:graphicFrame>
      <p:sp>
        <p:nvSpPr>
          <p:cNvPr id="18" name="灯片编号占位符 1">
            <a:extLst>
              <a:ext uri="{FF2B5EF4-FFF2-40B4-BE49-F238E27FC236}">
                <a16:creationId xmlns:a16="http://schemas.microsoft.com/office/drawing/2014/main" id="{D21B31AB-D39F-4790-A54B-85FAFD1155B2}"/>
              </a:ext>
            </a:extLst>
          </p:cNvPr>
          <p:cNvSpPr txBox="1">
            <a:spLocks/>
          </p:cNvSpPr>
          <p:nvPr/>
        </p:nvSpPr>
        <p:spPr>
          <a:xfrm>
            <a:off x="11669586" y="6469178"/>
            <a:ext cx="229431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948005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id="{F75B1531-7F97-4406-BEF1-E594A3D8A41B}"/>
              </a:ext>
            </a:extLst>
          </p:cNvPr>
          <p:cNvGrpSpPr/>
          <p:nvPr/>
        </p:nvGrpSpPr>
        <p:grpSpPr>
          <a:xfrm>
            <a:off x="4443043" y="1954399"/>
            <a:ext cx="5018447" cy="3838962"/>
            <a:chOff x="245236" y="1821667"/>
            <a:chExt cx="5018447" cy="3838962"/>
          </a:xfrm>
        </p:grpSpPr>
        <p:sp>
          <p:nvSpPr>
            <p:cNvPr id="4" name="文本框 3">
              <a:extLst>
                <a:ext uri="{FF2B5EF4-FFF2-40B4-BE49-F238E27FC236}">
                  <a16:creationId xmlns:a16="http://schemas.microsoft.com/office/drawing/2014/main" id="{C2F8B055-2077-4A2E-9FCF-F3598D9D0BBC}"/>
                </a:ext>
              </a:extLst>
            </p:cNvPr>
            <p:cNvSpPr txBox="1"/>
            <p:nvPr/>
          </p:nvSpPr>
          <p:spPr>
            <a:xfrm>
              <a:off x="459907" y="2795436"/>
              <a:ext cx="3892602" cy="12960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>
                <a:lnSpc>
                  <a:spcPct val="150000"/>
                </a:lnSpc>
              </a:pPr>
              <a:r>
                <a:rPr lang="zh-CN" altLang="en-US" sz="1500" b="1" dirty="0">
                  <a:solidFill>
                    <a:schemeClr val="accent1"/>
                  </a:solidFill>
                  <a:cs typeface="+mn-ea"/>
                  <a:sym typeface="+mn-lt"/>
                </a:rPr>
                <a:t>神经不良事件较少</a:t>
              </a:r>
              <a:r>
                <a:rPr lang="en-US" altLang="zh-CN" sz="1500" b="1" baseline="30000" dirty="0">
                  <a:solidFill>
                    <a:schemeClr val="accent1"/>
                  </a:solidFill>
                  <a:cs typeface="+mn-ea"/>
                  <a:sym typeface="+mn-lt"/>
                </a:rPr>
                <a:t>1</a:t>
              </a:r>
            </a:p>
            <a:p>
              <a:pPr marL="342900" indent="-342900" algn="l">
                <a:buFont typeface="Wingdings" panose="05000000000000000000" pitchFamily="2" charset="2"/>
                <a:buChar char="ü"/>
              </a:pPr>
              <a:r>
                <a:rPr lang="zh-CN" altLang="en-US" sz="1500" dirty="0">
                  <a:solidFill>
                    <a:srgbClr val="333333"/>
                  </a:solidFill>
                  <a:cs typeface="+mn-ea"/>
                  <a:sym typeface="+mn-lt"/>
                </a:rPr>
                <a:t>头晕发生率减少</a:t>
              </a:r>
              <a:r>
                <a:rPr lang="zh-CN" altLang="en-US" b="1" dirty="0">
                  <a:solidFill>
                    <a:srgbClr val="EE9234"/>
                  </a:solidFill>
                  <a:cs typeface="+mn-ea"/>
                  <a:sym typeface="+mn-lt"/>
                </a:rPr>
                <a:t>约</a:t>
              </a:r>
              <a:r>
                <a:rPr lang="en-US" altLang="zh-CN" b="1" dirty="0">
                  <a:solidFill>
                    <a:srgbClr val="EE9234"/>
                  </a:solidFill>
                  <a:cs typeface="+mn-ea"/>
                  <a:sym typeface="+mn-lt"/>
                </a:rPr>
                <a:t>75%</a:t>
              </a:r>
            </a:p>
            <a:p>
              <a:pPr marL="342900" indent="-342900">
                <a:buFont typeface="Wingdings" panose="05000000000000000000" pitchFamily="2" charset="2"/>
                <a:buChar char="ü"/>
              </a:pPr>
              <a:r>
                <a:rPr lang="zh-CN" altLang="en-US" sz="1500" dirty="0">
                  <a:solidFill>
                    <a:srgbClr val="333333"/>
                  </a:solidFill>
                  <a:cs typeface="+mn-ea"/>
                  <a:sym typeface="+mn-lt"/>
                </a:rPr>
                <a:t>睡眠障碍和紊乱发生率减少</a:t>
              </a:r>
              <a:r>
                <a:rPr lang="zh-CN" altLang="en-US" b="1" dirty="0">
                  <a:solidFill>
                    <a:srgbClr val="EE9234"/>
                  </a:solidFill>
                  <a:cs typeface="+mn-ea"/>
                  <a:sym typeface="+mn-lt"/>
                </a:rPr>
                <a:t>约</a:t>
              </a:r>
              <a:r>
                <a:rPr lang="en-US" altLang="zh-CN" b="1" dirty="0">
                  <a:solidFill>
                    <a:srgbClr val="EE9234"/>
                  </a:solidFill>
                  <a:cs typeface="+mn-ea"/>
                  <a:sym typeface="+mn-lt"/>
                </a:rPr>
                <a:t>50%</a:t>
              </a:r>
            </a:p>
            <a:p>
              <a:pPr algn="l">
                <a:lnSpc>
                  <a:spcPct val="150000"/>
                </a:lnSpc>
              </a:pPr>
              <a:endParaRPr lang="zh-CN" altLang="en-US" sz="1500" dirty="0">
                <a:cs typeface="+mn-ea"/>
                <a:sym typeface="+mn-lt"/>
              </a:endParaRPr>
            </a:p>
          </p:txBody>
        </p: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F86BA503-9808-4F56-B252-CA3EB0E25555}"/>
                </a:ext>
              </a:extLst>
            </p:cNvPr>
            <p:cNvSpPr txBox="1"/>
            <p:nvPr/>
          </p:nvSpPr>
          <p:spPr>
            <a:xfrm>
              <a:off x="429641" y="5014298"/>
              <a:ext cx="2338264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b="1" dirty="0">
                  <a:solidFill>
                    <a:schemeClr val="accent1"/>
                  </a:solidFill>
                  <a:cs typeface="+mn-ea"/>
                  <a:sym typeface="+mn-lt"/>
                </a:rPr>
                <a:t>因不良事件停止治疗的发生率低</a:t>
              </a:r>
              <a:r>
                <a:rPr lang="en-US" altLang="zh-CN" b="1" baseline="30000" dirty="0">
                  <a:solidFill>
                    <a:schemeClr val="accent1"/>
                  </a:solidFill>
                  <a:cs typeface="+mn-ea"/>
                  <a:sym typeface="+mn-lt"/>
                </a:rPr>
                <a:t>1</a:t>
              </a:r>
              <a:endParaRPr lang="zh-CN" altLang="en-US" b="1" baseline="30000" dirty="0">
                <a:solidFill>
                  <a:schemeClr val="accent1"/>
                </a:solidFill>
                <a:cs typeface="+mn-ea"/>
                <a:sym typeface="+mn-lt"/>
              </a:endParaRPr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3DB9F11F-A522-44D2-AF02-118FD5E57A23}"/>
                </a:ext>
              </a:extLst>
            </p:cNvPr>
            <p:cNvSpPr txBox="1"/>
            <p:nvPr/>
          </p:nvSpPr>
          <p:spPr>
            <a:xfrm>
              <a:off x="427824" y="4565799"/>
              <a:ext cx="4835859" cy="3974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多拉米替治疗</a:t>
              </a:r>
              <a:r>
                <a:rPr lang="en-US" altLang="zh-CN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96</a:t>
              </a:r>
              <a:r>
                <a:rPr lang="zh-CN" altLang="en-US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周</a:t>
              </a:r>
              <a:endParaRPr lang="en-US" altLang="zh-CN" sz="1500" b="0" i="0" u="none" strike="noStrike" baseline="0" dirty="0">
                <a:solidFill>
                  <a:srgbClr val="333333"/>
                </a:solidFill>
                <a:cs typeface="+mn-ea"/>
                <a:sym typeface="+mn-lt"/>
              </a:endParaRPr>
            </a:p>
          </p:txBody>
        </p: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2E0D0D9F-1CD2-4534-A639-CC63EEDDF633}"/>
                </a:ext>
              </a:extLst>
            </p:cNvPr>
            <p:cNvSpPr txBox="1"/>
            <p:nvPr/>
          </p:nvSpPr>
          <p:spPr>
            <a:xfrm>
              <a:off x="486635" y="2552316"/>
              <a:ext cx="3790219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多拉米替治疗</a:t>
              </a:r>
              <a:r>
                <a:rPr lang="en-US" altLang="zh-CN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48</a:t>
              </a:r>
              <a:r>
                <a:rPr lang="zh-CN" altLang="en-US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周</a:t>
              </a:r>
              <a:endParaRPr lang="zh-CN" altLang="en-US" sz="1500" dirty="0">
                <a:cs typeface="+mn-ea"/>
                <a:sym typeface="+mn-lt"/>
              </a:endParaRPr>
            </a:p>
          </p:txBody>
        </p: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EEB55F15-045E-4DD2-9BC9-897D490E19FF}"/>
                </a:ext>
              </a:extLst>
            </p:cNvPr>
            <p:cNvSpPr txBox="1"/>
            <p:nvPr/>
          </p:nvSpPr>
          <p:spPr>
            <a:xfrm>
              <a:off x="245236" y="1821667"/>
              <a:ext cx="4075189" cy="523220"/>
            </a:xfrm>
            <a:prstGeom prst="roundRect">
              <a:avLst>
                <a:gd name="adj" fmla="val 0"/>
              </a:avLst>
            </a:prstGeom>
            <a:solidFill>
              <a:schemeClr val="bg2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b="1" dirty="0">
                  <a:cs typeface="+mn-ea"/>
                  <a:sym typeface="+mn-lt"/>
                </a:rPr>
                <a:t>III</a:t>
              </a:r>
              <a:r>
                <a:rPr lang="zh-CN" altLang="en-US" sz="1400" b="1" dirty="0">
                  <a:cs typeface="+mn-ea"/>
                  <a:sym typeface="+mn-lt"/>
                </a:rPr>
                <a:t>期临床研究</a:t>
              </a:r>
              <a:endParaRPr lang="zh-CN" altLang="en-US" sz="1400" dirty="0">
                <a:cs typeface="+mn-ea"/>
                <a:sym typeface="+mn-lt"/>
              </a:endParaRPr>
            </a:p>
            <a:p>
              <a:pPr algn="ctr"/>
              <a:r>
                <a:rPr lang="zh-CN" altLang="en-US" sz="1400" i="0" u="none" strike="noStrike" baseline="0" dirty="0">
                  <a:cs typeface="+mn-ea"/>
                  <a:sym typeface="+mn-lt"/>
                </a:rPr>
                <a:t>相比</a:t>
              </a:r>
              <a:r>
                <a:rPr lang="en-US" altLang="zh-CN" sz="1400" i="0" u="none" strike="noStrike" baseline="0" dirty="0">
                  <a:cs typeface="+mn-ea"/>
                  <a:sym typeface="+mn-lt"/>
                </a:rPr>
                <a:t>EFV/FTC/TDF</a:t>
              </a:r>
              <a:endParaRPr lang="zh-CN" altLang="en-US" sz="1400" dirty="0">
                <a:cs typeface="+mn-ea"/>
                <a:sym typeface="+mn-lt"/>
              </a:endParaRPr>
            </a:p>
          </p:txBody>
        </p:sp>
      </p:grpSp>
      <p:sp>
        <p:nvSpPr>
          <p:cNvPr id="9" name="矩形 8">
            <a:extLst>
              <a:ext uri="{FF2B5EF4-FFF2-40B4-BE49-F238E27FC236}">
                <a16:creationId xmlns:a16="http://schemas.microsoft.com/office/drawing/2014/main" id="{CA8CA1D3-31ED-450E-9E5B-1E31FDBD77D5}"/>
              </a:ext>
            </a:extLst>
          </p:cNvPr>
          <p:cNvSpPr/>
          <p:nvPr/>
        </p:nvSpPr>
        <p:spPr>
          <a:xfrm>
            <a:off x="8535103" y="4114399"/>
            <a:ext cx="3307980" cy="533049"/>
          </a:xfrm>
          <a:prstGeom prst="rect">
            <a:avLst/>
          </a:prstGeom>
          <a:solidFill>
            <a:srgbClr val="ECED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C6C408A2-EEDD-4327-91E6-F7A405F538E6}"/>
              </a:ext>
            </a:extLst>
          </p:cNvPr>
          <p:cNvSpPr/>
          <p:nvPr/>
        </p:nvSpPr>
        <p:spPr>
          <a:xfrm>
            <a:off x="8527184" y="1951312"/>
            <a:ext cx="3307980" cy="523220"/>
          </a:xfrm>
          <a:prstGeom prst="rect">
            <a:avLst/>
          </a:prstGeom>
          <a:solidFill>
            <a:srgbClr val="ECED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solidFill>
                <a:schemeClr val="bg1"/>
              </a:solidFill>
            </a:endParaRP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826214BD-2C4C-45A5-8904-36F3C481E0DE}"/>
              </a:ext>
            </a:extLst>
          </p:cNvPr>
          <p:cNvGrpSpPr/>
          <p:nvPr/>
        </p:nvGrpSpPr>
        <p:grpSpPr>
          <a:xfrm>
            <a:off x="380616" y="1954399"/>
            <a:ext cx="6136763" cy="3619085"/>
            <a:chOff x="4852220" y="1837071"/>
            <a:chExt cx="6136763" cy="3619085"/>
          </a:xfrm>
        </p:grpSpPr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D33ACF08-F900-4080-9B10-E5B9460F5405}"/>
                </a:ext>
              </a:extLst>
            </p:cNvPr>
            <p:cNvSpPr txBox="1"/>
            <p:nvPr/>
          </p:nvSpPr>
          <p:spPr>
            <a:xfrm>
              <a:off x="4852220" y="1837071"/>
              <a:ext cx="4049282" cy="523220"/>
            </a:xfrm>
            <a:prstGeom prst="roundRect">
              <a:avLst>
                <a:gd name="adj" fmla="val 0"/>
              </a:avLst>
            </a:prstGeom>
            <a:solidFill>
              <a:schemeClr val="bg2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b="1" dirty="0">
                  <a:cs typeface="+mn-ea"/>
                  <a:sym typeface="+mn-lt"/>
                </a:rPr>
                <a:t>III</a:t>
              </a:r>
              <a:r>
                <a:rPr lang="zh-CN" altLang="en-US" sz="1400" b="1" dirty="0">
                  <a:cs typeface="+mn-ea"/>
                  <a:sym typeface="+mn-lt"/>
                </a:rPr>
                <a:t>期临床研究</a:t>
              </a:r>
              <a:endParaRPr lang="zh-CN" altLang="en-US" sz="1400" dirty="0">
                <a:cs typeface="+mn-ea"/>
                <a:sym typeface="+mn-lt"/>
              </a:endParaRPr>
            </a:p>
            <a:p>
              <a:pPr algn="ctr"/>
              <a:r>
                <a:rPr lang="zh-CN" altLang="en-US" sz="1400" i="0" u="none" strike="noStrike" baseline="0" dirty="0">
                  <a:cs typeface="+mn-ea"/>
                  <a:sym typeface="+mn-lt"/>
                </a:rPr>
                <a:t>相比</a:t>
              </a:r>
              <a:r>
                <a:rPr lang="en-US" altLang="zh-CN" sz="1400" i="0" u="none" strike="noStrike" baseline="0" dirty="0">
                  <a:cs typeface="+mn-ea"/>
                  <a:sym typeface="+mn-lt"/>
                </a:rPr>
                <a:t>EFV/FTC/TDF</a:t>
              </a:r>
              <a:endParaRPr lang="zh-CN" altLang="en-US" sz="1400" dirty="0">
                <a:cs typeface="+mn-ea"/>
                <a:sym typeface="+mn-lt"/>
              </a:endParaRPr>
            </a:p>
          </p:txBody>
        </p:sp>
        <p:sp>
          <p:nvSpPr>
            <p:cNvPr id="15" name="标题 1">
              <a:extLst>
                <a:ext uri="{FF2B5EF4-FFF2-40B4-BE49-F238E27FC236}">
                  <a16:creationId xmlns:a16="http://schemas.microsoft.com/office/drawing/2014/main" id="{779C68ED-ABB9-49B3-9D02-F56CB0F1331F}"/>
                </a:ext>
              </a:extLst>
            </p:cNvPr>
            <p:cNvSpPr txBox="1">
              <a:spLocks/>
            </p:cNvSpPr>
            <p:nvPr/>
          </p:nvSpPr>
          <p:spPr>
            <a:xfrm>
              <a:off x="4883278" y="2897358"/>
              <a:ext cx="4073026" cy="1231651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750" kern="1200">
                  <a:solidFill>
                    <a:schemeClr val="accent4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20000"/>
                </a:lnSpc>
              </a:pPr>
              <a:r>
                <a:rPr lang="zh-CN" altLang="en-US" sz="2000" b="1" dirty="0">
                  <a:solidFill>
                    <a:schemeClr val="accent1"/>
                  </a:solidFill>
                  <a:latin typeface="+mn-lt"/>
                  <a:ea typeface="+mn-ea"/>
                  <a:cs typeface="+mn-ea"/>
                  <a:sym typeface="+mn-lt"/>
                </a:rPr>
                <a:t>对</a:t>
              </a:r>
              <a:r>
                <a:rPr lang="en-US" altLang="zh-CN" sz="2000" b="1" dirty="0">
                  <a:solidFill>
                    <a:schemeClr val="accent1"/>
                  </a:solidFill>
                  <a:latin typeface="+mn-lt"/>
                  <a:ea typeface="+mn-ea"/>
                  <a:cs typeface="+mn-ea"/>
                  <a:sym typeface="+mn-lt"/>
                </a:rPr>
                <a:t>LDL-C</a:t>
              </a:r>
              <a:r>
                <a:rPr lang="zh-CN" altLang="en-US" sz="2000" b="1" dirty="0">
                  <a:solidFill>
                    <a:schemeClr val="accent1"/>
                  </a:solidFill>
                  <a:latin typeface="+mn-lt"/>
                  <a:ea typeface="+mn-ea"/>
                  <a:cs typeface="+mn-ea"/>
                  <a:sym typeface="+mn-lt"/>
                </a:rPr>
                <a:t>和非</a:t>
              </a:r>
              <a:r>
                <a:rPr lang="en-US" altLang="zh-CN" sz="2000" b="1" dirty="0">
                  <a:solidFill>
                    <a:schemeClr val="accent1"/>
                  </a:solidFill>
                  <a:latin typeface="+mn-lt"/>
                  <a:ea typeface="+mn-ea"/>
                  <a:cs typeface="+mn-ea"/>
                  <a:sym typeface="+mn-lt"/>
                </a:rPr>
                <a:t>HDL-C</a:t>
              </a:r>
              <a:r>
                <a:rPr lang="zh-CN" altLang="en-US" sz="2000" b="1" dirty="0">
                  <a:solidFill>
                    <a:schemeClr val="accent1"/>
                  </a:solidFill>
                  <a:latin typeface="+mn-lt"/>
                  <a:ea typeface="+mn-ea"/>
                  <a:cs typeface="+mn-ea"/>
                  <a:sym typeface="+mn-lt"/>
                </a:rPr>
                <a:t>具有优效性</a:t>
              </a:r>
              <a:r>
                <a:rPr lang="en-US" altLang="zh-CN" sz="2000" b="1" baseline="30000" dirty="0">
                  <a:solidFill>
                    <a:schemeClr val="accent1"/>
                  </a:solidFill>
                  <a:latin typeface="+mn-lt"/>
                  <a:ea typeface="+mn-ea"/>
                  <a:cs typeface="+mn-ea"/>
                  <a:sym typeface="+mn-lt"/>
                </a:rPr>
                <a:t>1</a:t>
              </a:r>
              <a:endParaRPr lang="en-US" sz="2000" baseline="30000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DFBDAE6E-507B-44B0-8894-6D5DE4BC566F}"/>
                </a:ext>
              </a:extLst>
            </p:cNvPr>
            <p:cNvSpPr txBox="1"/>
            <p:nvPr/>
          </p:nvSpPr>
          <p:spPr>
            <a:xfrm>
              <a:off x="4892983" y="2469418"/>
              <a:ext cx="4835859" cy="3974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初始患者多拉</a:t>
              </a:r>
              <a:r>
                <a:rPr lang="zh-CN" altLang="en-US" sz="1500" dirty="0">
                  <a:solidFill>
                    <a:srgbClr val="333333"/>
                  </a:solidFill>
                  <a:cs typeface="+mn-ea"/>
                  <a:sym typeface="+mn-lt"/>
                </a:rPr>
                <a:t>米替</a:t>
              </a:r>
              <a:r>
                <a:rPr lang="zh-CN" altLang="en-US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治疗</a:t>
              </a:r>
              <a:r>
                <a:rPr lang="en-US" altLang="zh-CN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48</a:t>
              </a:r>
              <a:r>
                <a:rPr lang="zh-CN" altLang="en-US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周</a:t>
              </a:r>
              <a:endParaRPr lang="en-US" altLang="zh-CN" sz="1500" b="0" i="0" u="none" strike="noStrike" baseline="0" dirty="0">
                <a:solidFill>
                  <a:srgbClr val="333333"/>
                </a:solidFill>
                <a:cs typeface="+mn-ea"/>
                <a:sym typeface="+mn-lt"/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398AEDF5-4931-499A-8575-440F1E6AD145}"/>
                </a:ext>
              </a:extLst>
            </p:cNvPr>
            <p:cNvSpPr txBox="1"/>
            <p:nvPr/>
          </p:nvSpPr>
          <p:spPr>
            <a:xfrm>
              <a:off x="4892983" y="5086824"/>
              <a:ext cx="60960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b="1" dirty="0">
                  <a:solidFill>
                    <a:schemeClr val="accent1"/>
                  </a:solidFill>
                  <a:cs typeface="+mn-ea"/>
                  <a:sym typeface="+mn-lt"/>
                </a:rPr>
                <a:t>脂代谢异常改善明显</a:t>
              </a:r>
              <a:r>
                <a:rPr lang="en-US" altLang="zh-CN" b="1" baseline="30000" dirty="0">
                  <a:solidFill>
                    <a:schemeClr val="accent1"/>
                  </a:solidFill>
                  <a:cs typeface="+mn-ea"/>
                  <a:sym typeface="+mn-lt"/>
                </a:rPr>
                <a:t>2</a:t>
              </a:r>
              <a:endParaRPr lang="zh-CN" altLang="en-US" b="1" baseline="30000" dirty="0">
                <a:solidFill>
                  <a:schemeClr val="accent1"/>
                </a:solidFill>
                <a:cs typeface="+mn-ea"/>
                <a:sym typeface="+mn-lt"/>
              </a:endParaRPr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9CBFBB1C-28E9-4A1E-8698-1DFAE04CA46F}"/>
                </a:ext>
              </a:extLst>
            </p:cNvPr>
            <p:cNvSpPr txBox="1"/>
            <p:nvPr/>
          </p:nvSpPr>
          <p:spPr>
            <a:xfrm>
              <a:off x="4895479" y="3997071"/>
              <a:ext cx="4004692" cy="523220"/>
            </a:xfrm>
            <a:prstGeom prst="roundRect">
              <a:avLst>
                <a:gd name="adj" fmla="val 0"/>
              </a:avLst>
            </a:prstGeom>
            <a:solidFill>
              <a:schemeClr val="bg2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b="1" dirty="0">
                  <a:cs typeface="+mn-ea"/>
                  <a:sym typeface="+mn-lt"/>
                </a:rPr>
                <a:t>III</a:t>
              </a:r>
              <a:r>
                <a:rPr lang="zh-CN" altLang="en-US" sz="1400" b="1" dirty="0">
                  <a:cs typeface="+mn-ea"/>
                  <a:sym typeface="+mn-lt"/>
                </a:rPr>
                <a:t>期临床研究</a:t>
              </a:r>
              <a:endParaRPr lang="zh-CN" altLang="en-US" sz="1400" dirty="0">
                <a:cs typeface="+mn-ea"/>
                <a:sym typeface="+mn-lt"/>
              </a:endParaRPr>
            </a:p>
            <a:p>
              <a:pPr algn="ctr"/>
              <a:r>
                <a:rPr lang="zh-CN" altLang="en-US" sz="1400" i="0" u="none" strike="noStrike" baseline="0" dirty="0">
                  <a:cs typeface="+mn-ea"/>
                  <a:sym typeface="+mn-lt"/>
                </a:rPr>
                <a:t>相比</a:t>
              </a:r>
              <a:r>
                <a:rPr lang="en-US" altLang="zh-CN" sz="1400" dirty="0">
                  <a:cs typeface="+mn-ea"/>
                  <a:sym typeface="+mn-lt"/>
                </a:rPr>
                <a:t>PI/INSTI/NNRTI+2NRTI</a:t>
              </a:r>
              <a:endParaRPr lang="zh-CN" altLang="en-US" sz="1400" dirty="0">
                <a:cs typeface="+mn-ea"/>
                <a:sym typeface="+mn-lt"/>
              </a:endParaRP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AB8F34EC-3997-47F8-A414-EC17C26F7103}"/>
                </a:ext>
              </a:extLst>
            </p:cNvPr>
            <p:cNvSpPr txBox="1"/>
            <p:nvPr/>
          </p:nvSpPr>
          <p:spPr>
            <a:xfrm>
              <a:off x="4864279" y="4611620"/>
              <a:ext cx="4835859" cy="3974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500" dirty="0">
                  <a:solidFill>
                    <a:srgbClr val="333333"/>
                  </a:solidFill>
                  <a:cs typeface="+mn-ea"/>
                  <a:sym typeface="+mn-lt"/>
                </a:rPr>
                <a:t>经治患者转换为</a:t>
              </a:r>
              <a:r>
                <a:rPr lang="zh-CN" altLang="en-US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多拉</a:t>
              </a:r>
              <a:r>
                <a:rPr lang="zh-CN" altLang="en-US" sz="1500" dirty="0">
                  <a:solidFill>
                    <a:srgbClr val="333333"/>
                  </a:solidFill>
                  <a:cs typeface="+mn-ea"/>
                  <a:sym typeface="+mn-lt"/>
                </a:rPr>
                <a:t>米替</a:t>
              </a:r>
              <a:r>
                <a:rPr lang="zh-CN" altLang="en-US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治疗</a:t>
              </a:r>
              <a:r>
                <a:rPr lang="en-US" altLang="zh-CN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144</a:t>
              </a:r>
              <a:r>
                <a:rPr lang="zh-CN" altLang="en-US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周</a:t>
              </a:r>
              <a:endParaRPr lang="en-US" altLang="zh-CN" sz="1500" b="0" i="0" u="none" strike="noStrike" baseline="0" dirty="0">
                <a:solidFill>
                  <a:srgbClr val="33333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20" name="文本框 19">
            <a:extLst>
              <a:ext uri="{FF2B5EF4-FFF2-40B4-BE49-F238E27FC236}">
                <a16:creationId xmlns:a16="http://schemas.microsoft.com/office/drawing/2014/main" id="{A44A4B6C-3E70-437F-A9A1-E532AF7D7D1F}"/>
              </a:ext>
            </a:extLst>
          </p:cNvPr>
          <p:cNvSpPr txBox="1"/>
          <p:nvPr/>
        </p:nvSpPr>
        <p:spPr>
          <a:xfrm>
            <a:off x="8752478" y="2865051"/>
            <a:ext cx="3184802" cy="27392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500" dirty="0">
                <a:cs typeface="+mn-ea"/>
                <a:sym typeface="+mn-lt"/>
              </a:rPr>
              <a:t>药物相互作用</a:t>
            </a:r>
            <a:r>
              <a:rPr lang="en-US" altLang="zh-CN" b="1" dirty="0">
                <a:solidFill>
                  <a:schemeClr val="accent1"/>
                </a:solidFill>
                <a:cs typeface="+mn-ea"/>
                <a:sym typeface="+mn-lt"/>
              </a:rPr>
              <a:t>DDI</a:t>
            </a:r>
            <a:r>
              <a:rPr lang="zh-CN" altLang="en-US" b="1" dirty="0">
                <a:solidFill>
                  <a:schemeClr val="accent1"/>
                </a:solidFill>
                <a:cs typeface="+mn-ea"/>
                <a:sym typeface="+mn-lt"/>
              </a:rPr>
              <a:t>少</a:t>
            </a:r>
            <a:r>
              <a:rPr lang="zh-CN" altLang="en-US" sz="1500" dirty="0">
                <a:cs typeface="+mn-ea"/>
                <a:sym typeface="+mn-lt"/>
              </a:rPr>
              <a:t>，</a:t>
            </a:r>
            <a:endParaRPr lang="en-US" altLang="zh-CN" sz="1500" dirty="0">
              <a:cs typeface="+mn-ea"/>
              <a:sym typeface="+mn-lt"/>
            </a:endParaRPr>
          </a:p>
          <a:p>
            <a:pPr algn="ctr"/>
            <a:r>
              <a:rPr lang="zh-CN" altLang="en-US" sz="1500" dirty="0">
                <a:cs typeface="+mn-ea"/>
                <a:sym typeface="+mn-lt"/>
              </a:rPr>
              <a:t>适用于临床多种复杂情况</a:t>
            </a:r>
            <a:r>
              <a:rPr lang="en-US" altLang="zh-CN" sz="1500" baseline="30000" dirty="0">
                <a:cs typeface="+mn-ea"/>
                <a:sym typeface="+mn-lt"/>
              </a:rPr>
              <a:t>3</a:t>
            </a:r>
          </a:p>
          <a:p>
            <a:pPr algn="ctr"/>
            <a:endParaRPr lang="en-US" altLang="zh-CN" sz="2000" dirty="0">
              <a:cs typeface="+mn-ea"/>
              <a:sym typeface="+mn-lt"/>
            </a:endParaRPr>
          </a:p>
          <a:p>
            <a:pPr algn="ctr"/>
            <a:endParaRPr lang="en-US" altLang="zh-CN" sz="2000" dirty="0">
              <a:cs typeface="+mn-ea"/>
              <a:sym typeface="+mn-lt"/>
            </a:endParaRPr>
          </a:p>
          <a:p>
            <a:pPr algn="ctr"/>
            <a:endParaRPr lang="en-US" altLang="zh-CN" sz="2000" dirty="0">
              <a:cs typeface="+mn-ea"/>
              <a:sym typeface="+mn-lt"/>
            </a:endParaRPr>
          </a:p>
          <a:p>
            <a:pPr algn="ctr"/>
            <a:endParaRPr lang="en-US" altLang="zh-CN" sz="2000" dirty="0">
              <a:cs typeface="+mn-ea"/>
              <a:sym typeface="+mn-lt"/>
            </a:endParaRPr>
          </a:p>
          <a:p>
            <a:pPr algn="ctr"/>
            <a:endParaRPr lang="en-US" altLang="zh-CN" sz="2000" dirty="0">
              <a:cs typeface="+mn-ea"/>
              <a:sym typeface="+mn-lt"/>
            </a:endParaRPr>
          </a:p>
          <a:p>
            <a:pPr algn="ctr"/>
            <a:r>
              <a:rPr lang="zh-CN" altLang="en-US" b="1" dirty="0">
                <a:solidFill>
                  <a:schemeClr val="accent1"/>
                </a:solidFill>
                <a:cs typeface="+mn-ea"/>
                <a:sym typeface="+mn-lt"/>
              </a:rPr>
              <a:t>肝脏安全性好</a:t>
            </a:r>
            <a:r>
              <a:rPr lang="en-US" altLang="zh-CN" b="1" baseline="30000" dirty="0">
                <a:solidFill>
                  <a:schemeClr val="accent1"/>
                </a:solidFill>
                <a:cs typeface="+mn-ea"/>
                <a:sym typeface="+mn-lt"/>
              </a:rPr>
              <a:t>3</a:t>
            </a:r>
          </a:p>
          <a:p>
            <a:pPr algn="ctr"/>
            <a:r>
              <a:rPr lang="zh-CN" altLang="en-US" sz="1600" dirty="0">
                <a:cs typeface="+mn-ea"/>
                <a:sym typeface="+mn-lt"/>
              </a:rPr>
              <a:t>（</a:t>
            </a:r>
            <a:r>
              <a:rPr lang="en-US" altLang="zh-CN" sz="1600" dirty="0">
                <a:cs typeface="+mn-ea"/>
                <a:sym typeface="+mn-lt"/>
              </a:rPr>
              <a:t>Child A/B</a:t>
            </a:r>
            <a:r>
              <a:rPr lang="zh-CN" altLang="en-US" sz="1600" dirty="0">
                <a:cs typeface="+mn-ea"/>
                <a:sym typeface="+mn-lt"/>
              </a:rPr>
              <a:t>无需调整剂量）</a:t>
            </a:r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53B12651-64EC-4655-91F8-DBC9C61B2D7F}"/>
              </a:ext>
            </a:extLst>
          </p:cNvPr>
          <p:cNvCxnSpPr/>
          <p:nvPr/>
        </p:nvCxnSpPr>
        <p:spPr>
          <a:xfrm>
            <a:off x="4429898" y="1954399"/>
            <a:ext cx="0" cy="421200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文本框 21">
            <a:extLst>
              <a:ext uri="{FF2B5EF4-FFF2-40B4-BE49-F238E27FC236}">
                <a16:creationId xmlns:a16="http://schemas.microsoft.com/office/drawing/2014/main" id="{3DF172D5-9A74-462C-9510-0F02F0AC9873}"/>
              </a:ext>
            </a:extLst>
          </p:cNvPr>
          <p:cNvSpPr txBox="1"/>
          <p:nvPr/>
        </p:nvSpPr>
        <p:spPr>
          <a:xfrm>
            <a:off x="147662" y="6319359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fr-FR" altLang="zh-CN" sz="800" dirty="0" err="1">
                <a:cs typeface="+mn-ea"/>
                <a:sym typeface="+mn-lt"/>
              </a:rPr>
              <a:t>OrkinC</a:t>
            </a:r>
            <a:r>
              <a:rPr lang="fr-FR" altLang="zh-CN" sz="800" dirty="0">
                <a:cs typeface="+mn-ea"/>
                <a:sym typeface="+mn-lt"/>
              </a:rPr>
              <a:t> et al. </a:t>
            </a:r>
            <a:r>
              <a:rPr lang="fr-FR" altLang="zh-CN" sz="800" dirty="0" err="1">
                <a:cs typeface="+mn-ea"/>
                <a:sym typeface="+mn-lt"/>
              </a:rPr>
              <a:t>ClinInfect</a:t>
            </a:r>
            <a:r>
              <a:rPr lang="fr-FR" altLang="zh-CN" sz="800" dirty="0">
                <a:cs typeface="+mn-ea"/>
                <a:sym typeface="+mn-lt"/>
              </a:rPr>
              <a:t> Dis. 2019;68(4):535-544.</a:t>
            </a:r>
            <a:endParaRPr lang="it-IT" altLang="zh-CN" sz="800" dirty="0">
              <a:cs typeface="+mn-ea"/>
              <a:sym typeface="+mn-lt"/>
            </a:endParaRPr>
          </a:p>
          <a:p>
            <a:pPr marL="228600" indent="-228600">
              <a:buAutoNum type="arabicPeriod"/>
            </a:pPr>
            <a:r>
              <a:rPr lang="en-US" altLang="zh-CN" sz="800" dirty="0">
                <a:cs typeface="+mn-ea"/>
                <a:sym typeface="+mn-lt"/>
              </a:rPr>
              <a:t>Kumar P, et al. J </a:t>
            </a:r>
            <a:r>
              <a:rPr lang="en-US" altLang="zh-CN" sz="800" dirty="0" err="1">
                <a:cs typeface="+mn-ea"/>
                <a:sym typeface="+mn-lt"/>
              </a:rPr>
              <a:t>Acquir</a:t>
            </a:r>
            <a:r>
              <a:rPr lang="en-US" altLang="zh-CN" sz="800" dirty="0">
                <a:cs typeface="+mn-ea"/>
                <a:sym typeface="+mn-lt"/>
              </a:rPr>
              <a:t> Immune </a:t>
            </a:r>
            <a:r>
              <a:rPr lang="en-US" altLang="zh-CN" sz="800" dirty="0" err="1">
                <a:cs typeface="+mn-ea"/>
                <a:sym typeface="+mn-lt"/>
              </a:rPr>
              <a:t>Defic</a:t>
            </a:r>
            <a:r>
              <a:rPr lang="en-US" altLang="zh-CN" sz="800" dirty="0">
                <a:cs typeface="+mn-ea"/>
                <a:sym typeface="+mn-lt"/>
              </a:rPr>
              <a:t> </a:t>
            </a:r>
            <a:r>
              <a:rPr lang="en-US" altLang="zh-CN" sz="800" dirty="0" err="1">
                <a:cs typeface="+mn-ea"/>
                <a:sym typeface="+mn-lt"/>
              </a:rPr>
              <a:t>Syndr</a:t>
            </a:r>
            <a:r>
              <a:rPr lang="en-US" altLang="zh-CN" sz="800" dirty="0">
                <a:cs typeface="+mn-ea"/>
                <a:sym typeface="+mn-lt"/>
              </a:rPr>
              <a:t>. 2021 Feb 17</a:t>
            </a:r>
          </a:p>
          <a:p>
            <a:pPr marL="228600" indent="-228600">
              <a:buAutoNum type="arabicPeriod"/>
            </a:pPr>
            <a:r>
              <a:rPr lang="zh-CN" altLang="en-US" sz="800" b="0" i="0" u="none" strike="noStrike" baseline="0" dirty="0">
                <a:cs typeface="+mn-ea"/>
                <a:sym typeface="+mn-lt"/>
              </a:rPr>
              <a:t>多拉米替片说明书</a:t>
            </a:r>
            <a:r>
              <a:rPr lang="en-US" altLang="zh-CN" sz="800" b="0" i="0" u="none" strike="noStrike" baseline="0" dirty="0">
                <a:cs typeface="+mn-ea"/>
                <a:sym typeface="+mn-lt"/>
              </a:rPr>
              <a:t>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CEA29446-1FB0-49C8-A4C0-10FB18583C85}"/>
              </a:ext>
            </a:extLst>
          </p:cNvPr>
          <p:cNvSpPr/>
          <p:nvPr/>
        </p:nvSpPr>
        <p:spPr>
          <a:xfrm>
            <a:off x="380616" y="1510966"/>
            <a:ext cx="11474499" cy="4433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spc="-5" dirty="0">
                <a:solidFill>
                  <a:schemeClr val="bg1"/>
                </a:solidFill>
                <a:cs typeface="+mn-ea"/>
                <a:sym typeface="+mn-lt"/>
              </a:rPr>
              <a:t>多拉米替片</a:t>
            </a:r>
            <a:r>
              <a:rPr lang="zh-CN" altLang="en-US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多重获益</a:t>
            </a:r>
            <a:r>
              <a:rPr lang="zh-CN" altLang="en-US" sz="2000" b="1" spc="-5" dirty="0">
                <a:solidFill>
                  <a:schemeClr val="bg1"/>
                </a:solidFill>
                <a:cs typeface="+mn-ea"/>
                <a:sym typeface="+mn-lt"/>
              </a:rPr>
              <a:t>从容应对</a:t>
            </a:r>
            <a:r>
              <a:rPr lang="en-US" altLang="zh-CN" sz="2000" b="1" spc="-5" dirty="0">
                <a:solidFill>
                  <a:schemeClr val="bg1"/>
                </a:solidFill>
                <a:cs typeface="+mn-ea"/>
                <a:sym typeface="+mn-lt"/>
              </a:rPr>
              <a:t>HIV</a:t>
            </a:r>
            <a:r>
              <a:rPr lang="zh-CN" altLang="en-US" sz="2000" b="1" spc="-5" dirty="0">
                <a:solidFill>
                  <a:schemeClr val="bg1"/>
                </a:solidFill>
                <a:cs typeface="+mn-ea"/>
                <a:sym typeface="+mn-lt"/>
              </a:rPr>
              <a:t>管理新挑战</a:t>
            </a:r>
            <a:endParaRPr lang="en-US" sz="2000" b="1" spc="-5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7ADA0007-A482-44DC-AE1D-08867A0F0D0C}"/>
              </a:ext>
            </a:extLst>
          </p:cNvPr>
          <p:cNvCxnSpPr/>
          <p:nvPr/>
        </p:nvCxnSpPr>
        <p:spPr>
          <a:xfrm>
            <a:off x="8512488" y="1954399"/>
            <a:ext cx="0" cy="421200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文本框 24">
            <a:extLst>
              <a:ext uri="{FF2B5EF4-FFF2-40B4-BE49-F238E27FC236}">
                <a16:creationId xmlns:a16="http://schemas.microsoft.com/office/drawing/2014/main" id="{DDE378D4-D661-4914-A0A1-2773AD4DE2C7}"/>
              </a:ext>
            </a:extLst>
          </p:cNvPr>
          <p:cNvSpPr txBox="1"/>
          <p:nvPr/>
        </p:nvSpPr>
        <p:spPr>
          <a:xfrm>
            <a:off x="8550316" y="2089922"/>
            <a:ext cx="3307980" cy="307777"/>
          </a:xfrm>
          <a:prstGeom prst="roundRect">
            <a:avLst>
              <a:gd name="adj" fmla="val 0"/>
            </a:avLst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zh-CN" altLang="en-US" sz="1400" b="1" dirty="0">
                <a:cs typeface="+mn-ea"/>
                <a:sym typeface="+mn-lt"/>
              </a:rPr>
              <a:t>优化代谢特征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06017B2F-8D74-4D34-84C5-0E616CE38FB8}"/>
              </a:ext>
            </a:extLst>
          </p:cNvPr>
          <p:cNvSpPr txBox="1"/>
          <p:nvPr/>
        </p:nvSpPr>
        <p:spPr>
          <a:xfrm>
            <a:off x="8556745" y="4217885"/>
            <a:ext cx="3307980" cy="338554"/>
          </a:xfrm>
          <a:prstGeom prst="roundRect">
            <a:avLst>
              <a:gd name="adj" fmla="val 0"/>
            </a:avLst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zh-CN" altLang="en-US" sz="1600" b="1" dirty="0">
                <a:cs typeface="+mn-ea"/>
                <a:sym typeface="+mn-lt"/>
              </a:rPr>
              <a:t>肝肾友好</a:t>
            </a:r>
          </a:p>
        </p:txBody>
      </p:sp>
      <p:pic>
        <p:nvPicPr>
          <p:cNvPr id="27" name="图片 26">
            <a:extLst>
              <a:ext uri="{FF2B5EF4-FFF2-40B4-BE49-F238E27FC236}">
                <a16:creationId xmlns:a16="http://schemas.microsoft.com/office/drawing/2014/main" id="{8C357092-D254-4226-B7D3-06ECF8B0E58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r="19073" b="31829"/>
          <a:stretch/>
        </p:blipFill>
        <p:spPr>
          <a:xfrm>
            <a:off x="6683803" y="4719510"/>
            <a:ext cx="1828685" cy="1347868"/>
          </a:xfrm>
          <a:prstGeom prst="rect">
            <a:avLst/>
          </a:prstGeom>
          <a:ln>
            <a:noFill/>
            <a:prstDash val="dash"/>
          </a:ln>
        </p:spPr>
      </p:pic>
      <p:sp>
        <p:nvSpPr>
          <p:cNvPr id="28" name="文本框 27">
            <a:extLst>
              <a:ext uri="{FF2B5EF4-FFF2-40B4-BE49-F238E27FC236}">
                <a16:creationId xmlns:a16="http://schemas.microsoft.com/office/drawing/2014/main" id="{1CD373C0-91E7-4B8D-8586-24B749C12699}"/>
              </a:ext>
            </a:extLst>
          </p:cNvPr>
          <p:cNvSpPr txBox="1"/>
          <p:nvPr/>
        </p:nvSpPr>
        <p:spPr>
          <a:xfrm>
            <a:off x="4439767" y="4114940"/>
            <a:ext cx="4075189" cy="523220"/>
          </a:xfrm>
          <a:prstGeom prst="roundRect">
            <a:avLst>
              <a:gd name="adj" fmla="val 0"/>
            </a:avLst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400" b="1" dirty="0">
                <a:cs typeface="+mn-ea"/>
                <a:sym typeface="+mn-lt"/>
              </a:rPr>
              <a:t>III</a:t>
            </a:r>
            <a:r>
              <a:rPr lang="zh-CN" altLang="en-US" sz="1400" b="1" dirty="0">
                <a:cs typeface="+mn-ea"/>
                <a:sym typeface="+mn-lt"/>
              </a:rPr>
              <a:t>期临床研究</a:t>
            </a:r>
            <a:endParaRPr lang="zh-CN" altLang="en-US" sz="1400" dirty="0">
              <a:cs typeface="+mn-ea"/>
              <a:sym typeface="+mn-lt"/>
            </a:endParaRPr>
          </a:p>
          <a:p>
            <a:pPr algn="ctr"/>
            <a:r>
              <a:rPr lang="zh-CN" altLang="en-US" sz="1400" i="0" u="none" strike="noStrike" baseline="0" dirty="0">
                <a:cs typeface="+mn-ea"/>
                <a:sym typeface="+mn-lt"/>
              </a:rPr>
              <a:t>相比</a:t>
            </a:r>
            <a:r>
              <a:rPr lang="en-US" altLang="zh-CN" sz="1400" i="0" u="none" strike="noStrike" baseline="0" dirty="0">
                <a:cs typeface="+mn-ea"/>
                <a:sym typeface="+mn-lt"/>
              </a:rPr>
              <a:t>EFV/FTC/TDF</a:t>
            </a:r>
            <a:endParaRPr lang="zh-CN" altLang="en-US" sz="1400" dirty="0">
              <a:cs typeface="+mn-ea"/>
              <a:sym typeface="+mn-lt"/>
            </a:endParaRPr>
          </a:p>
        </p:txBody>
      </p:sp>
      <p:sp>
        <p:nvSpPr>
          <p:cNvPr id="30" name="灯片编号占位符 1">
            <a:extLst>
              <a:ext uri="{FF2B5EF4-FFF2-40B4-BE49-F238E27FC236}">
                <a16:creationId xmlns:a16="http://schemas.microsoft.com/office/drawing/2014/main" id="{11CF51C8-6DB4-46D0-B07E-369C070C5C1B}"/>
              </a:ext>
            </a:extLst>
          </p:cNvPr>
          <p:cNvSpPr txBox="1">
            <a:spLocks/>
          </p:cNvSpPr>
          <p:nvPr/>
        </p:nvSpPr>
        <p:spPr>
          <a:xfrm>
            <a:off x="11669586" y="6469178"/>
            <a:ext cx="229431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3</a:t>
            </a:r>
          </a:p>
        </p:txBody>
      </p:sp>
      <p:sp>
        <p:nvSpPr>
          <p:cNvPr id="29" name="标题 1">
            <a:extLst>
              <a:ext uri="{FF2B5EF4-FFF2-40B4-BE49-F238E27FC236}">
                <a16:creationId xmlns:a16="http://schemas.microsoft.com/office/drawing/2014/main" id="{00031BA7-D0CE-4567-8910-6234FB819CF1}"/>
              </a:ext>
            </a:extLst>
          </p:cNvPr>
          <p:cNvSpPr txBox="1">
            <a:spLocks/>
          </p:cNvSpPr>
          <p:nvPr/>
        </p:nvSpPr>
        <p:spPr>
          <a:xfrm>
            <a:off x="373569" y="423688"/>
            <a:ext cx="10067925" cy="850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50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安全性</a:t>
            </a:r>
            <a:endParaRPr lang="zh-CN" altLang="en-US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863711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65D1F851-D544-4ED7-A7E7-3655B2B67A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0" imgH="469" progId="TCLayout.ActiveDocument.1">
                  <p:embed/>
                </p:oleObj>
              </mc:Choice>
              <mc:Fallback>
                <p:oleObj name="think-cell 幻灯片" r:id="rId3" imgW="470" imgH="469" progId="TCLayout.ActiveDocument.1">
                  <p:embed/>
                  <p:pic>
                    <p:nvPicPr>
                      <p:cNvPr id="7" name="对象 6" hidden="1">
                        <a:extLst>
                          <a:ext uri="{FF2B5EF4-FFF2-40B4-BE49-F238E27FC236}">
                            <a16:creationId xmlns:a16="http://schemas.microsoft.com/office/drawing/2014/main" id="{65D1F851-D544-4ED7-A7E7-3655B2B67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>
            <a:extLst>
              <a:ext uri="{FF2B5EF4-FFF2-40B4-BE49-F238E27FC236}">
                <a16:creationId xmlns:a16="http://schemas.microsoft.com/office/drawing/2014/main" id="{7A4A4604-CB07-434E-9A3A-78A349A8341F}"/>
              </a:ext>
            </a:extLst>
          </p:cNvPr>
          <p:cNvSpPr/>
          <p:nvPr/>
        </p:nvSpPr>
        <p:spPr>
          <a:xfrm>
            <a:off x="370016" y="1416825"/>
            <a:ext cx="11444159" cy="4484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spc="-5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多拉米替片在</a:t>
            </a:r>
            <a:r>
              <a:rPr lang="en-US" altLang="zh-CN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57</a:t>
            </a:r>
            <a:r>
              <a:rPr lang="zh-CN" altLang="en-US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个国家</a:t>
            </a:r>
            <a:r>
              <a:rPr lang="en-US" altLang="zh-CN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/</a:t>
            </a:r>
            <a:r>
              <a:rPr lang="zh-CN" altLang="en-US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地区</a:t>
            </a:r>
            <a:r>
              <a:rPr lang="zh-CN" altLang="en-US" sz="2000" b="1" spc="-5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的安全应用经验显示</a:t>
            </a:r>
            <a:r>
              <a:rPr lang="zh-CN" altLang="en-US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安全可靠</a:t>
            </a:r>
            <a:endParaRPr lang="en-US" sz="2000" b="1" spc="-5" dirty="0">
              <a:solidFill>
                <a:srgbClr val="FCCA5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+mn-ea"/>
              <a:sym typeface="+mn-lt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E58F2938-67B3-4E92-BFD6-4469AFF28F64}"/>
              </a:ext>
            </a:extLst>
          </p:cNvPr>
          <p:cNvSpPr txBox="1"/>
          <p:nvPr/>
        </p:nvSpPr>
        <p:spPr>
          <a:xfrm>
            <a:off x="601360" y="3130216"/>
            <a:ext cx="5494638" cy="290028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buFont typeface="Wingdings" panose="05000000000000000000" pitchFamily="2" charset="2"/>
              <a:buChar char="v"/>
              <a:defRPr sz="1600">
                <a:cs typeface="+mn-ea"/>
              </a:defRPr>
            </a:lvl1pPr>
          </a:lstStyle>
          <a:p>
            <a:pPr marL="0" indent="0">
              <a:buNone/>
            </a:pPr>
            <a:r>
              <a:rPr lang="en-US" altLang="zh-CN" dirty="0">
                <a:latin typeface="+mn-ea"/>
                <a:sym typeface="+mn-lt"/>
              </a:rPr>
              <a:t>本品已在全球</a:t>
            </a:r>
            <a:r>
              <a:rPr lang="en-US" altLang="zh-CN" sz="2000" b="1" u="sng" dirty="0">
                <a:solidFill>
                  <a:schemeClr val="accent1"/>
                </a:solidFill>
                <a:latin typeface="+mn-ea"/>
                <a:sym typeface="+mn-lt"/>
              </a:rPr>
              <a:t>57个</a:t>
            </a:r>
            <a:r>
              <a:rPr lang="en-US" altLang="zh-CN" dirty="0">
                <a:latin typeface="+mn-ea"/>
                <a:sym typeface="+mn-lt"/>
              </a:rPr>
              <a:t>国家/</a:t>
            </a:r>
            <a:r>
              <a:rPr lang="en-US" altLang="zh-CN" dirty="0" err="1">
                <a:latin typeface="+mn-ea"/>
                <a:sym typeface="+mn-lt"/>
              </a:rPr>
              <a:t>地区获批，未因安全性原因对本品采取任何措施</a:t>
            </a:r>
            <a:endParaRPr lang="en-US" altLang="zh-CN" dirty="0">
              <a:latin typeface="+mn-ea"/>
              <a:sym typeface="+mn-lt"/>
            </a:endParaRPr>
          </a:p>
          <a:p>
            <a:pPr marL="0" indent="0">
              <a:buNone/>
            </a:pPr>
            <a:endParaRPr lang="en-US" altLang="zh-CN" dirty="0">
              <a:latin typeface="+mn-ea"/>
              <a:sym typeface="+mn-lt"/>
            </a:endParaRPr>
          </a:p>
          <a:p>
            <a:pPr marL="0" indent="0">
              <a:buNone/>
            </a:pPr>
            <a:r>
              <a:rPr lang="zh-CN" altLang="en-US" dirty="0">
                <a:latin typeface="+mn-ea"/>
                <a:sym typeface="+mn-lt"/>
              </a:rPr>
              <a:t>全球</a:t>
            </a:r>
            <a:r>
              <a:rPr lang="en-US" altLang="zh-CN" dirty="0">
                <a:latin typeface="+mn-ea"/>
                <a:sym typeface="+mn-lt"/>
              </a:rPr>
              <a:t>累积患者暴露量约为</a:t>
            </a:r>
            <a:r>
              <a:rPr lang="en-US" altLang="zh-CN" sz="2000" b="1" u="sng" dirty="0">
                <a:solidFill>
                  <a:schemeClr val="accent1"/>
                </a:solidFill>
                <a:latin typeface="+mn-ea"/>
                <a:sym typeface="+mn-lt"/>
              </a:rPr>
              <a:t>52,473</a:t>
            </a:r>
            <a:r>
              <a:rPr lang="en-US" altLang="zh-CN" dirty="0">
                <a:latin typeface="+mn-ea"/>
                <a:sym typeface="+mn-lt"/>
              </a:rPr>
              <a:t> ，全球累积自发报告不良反应664例次（其中严重不良反应153例次）</a:t>
            </a:r>
          </a:p>
          <a:p>
            <a:pPr marL="0" indent="0">
              <a:buNone/>
            </a:pPr>
            <a:endParaRPr lang="en-US" altLang="zh-CN" dirty="0">
              <a:latin typeface="+mn-ea"/>
              <a:sym typeface="+mn-lt"/>
            </a:endParaRPr>
          </a:p>
          <a:p>
            <a:pPr marL="0" indent="0">
              <a:buNone/>
            </a:pPr>
            <a:r>
              <a:rPr lang="en-US" altLang="zh-CN" dirty="0" err="1">
                <a:latin typeface="+mn-ea"/>
                <a:sym typeface="+mn-lt"/>
              </a:rPr>
              <a:t>粗略估算全球不良反应接报率</a:t>
            </a:r>
            <a:r>
              <a:rPr lang="zh-CN" altLang="en-US" sz="2000" b="1" u="sng" dirty="0">
                <a:solidFill>
                  <a:schemeClr val="accent1"/>
                </a:solidFill>
                <a:latin typeface="+mn-ea"/>
                <a:sym typeface="+mn-lt"/>
              </a:rPr>
              <a:t>低至</a:t>
            </a:r>
            <a:r>
              <a:rPr lang="en-US" altLang="zh-CN" sz="2000" b="1" u="sng" dirty="0">
                <a:solidFill>
                  <a:schemeClr val="accent1"/>
                </a:solidFill>
                <a:latin typeface="+mn-ea"/>
                <a:sym typeface="+mn-lt"/>
              </a:rPr>
              <a:t>1.26%</a:t>
            </a:r>
            <a:r>
              <a:rPr lang="en-US" altLang="zh-CN" sz="2000" b="1" dirty="0">
                <a:latin typeface="+mn-ea"/>
                <a:sym typeface="+mn-lt"/>
              </a:rPr>
              <a:t>（</a:t>
            </a:r>
            <a:r>
              <a:rPr lang="en-US" altLang="zh-CN" dirty="0">
                <a:latin typeface="+mn-ea"/>
                <a:sym typeface="+mn-lt"/>
              </a:rPr>
              <a:t>664/52473）</a:t>
            </a:r>
            <a:endParaRPr lang="en-US" dirty="0">
              <a:latin typeface="+mn-ea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0A4B4184-9EA5-43CF-9C43-944E771075DC}"/>
              </a:ext>
            </a:extLst>
          </p:cNvPr>
          <p:cNvSpPr txBox="1"/>
          <p:nvPr/>
        </p:nvSpPr>
        <p:spPr>
          <a:xfrm>
            <a:off x="7324148" y="3270188"/>
            <a:ext cx="4702012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000" b="1" dirty="0" err="1">
                <a:solidFill>
                  <a:schemeClr val="accent1"/>
                </a:solidFill>
                <a:latin typeface="+mn-ea"/>
                <a:cs typeface="+mn-ea"/>
                <a:sym typeface="+mn-lt"/>
              </a:rPr>
              <a:t>无</a:t>
            </a:r>
            <a:r>
              <a:rPr lang="en-US" altLang="zh-CN" sz="1600" dirty="0" err="1">
                <a:latin typeface="+mn-ea"/>
                <a:cs typeface="+mn-ea"/>
                <a:sym typeface="+mn-lt"/>
              </a:rPr>
              <a:t>重要风险提示</a:t>
            </a:r>
            <a:endParaRPr lang="en-US" altLang="zh-CN" sz="1600" dirty="0">
              <a:latin typeface="+mn-ea"/>
              <a:cs typeface="+mn-ea"/>
              <a:sym typeface="+mn-lt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sz="1600" dirty="0">
              <a:solidFill>
                <a:schemeClr val="accent1"/>
              </a:solidFill>
              <a:latin typeface="+mn-ea"/>
              <a:cs typeface="+mn-ea"/>
              <a:sym typeface="+mn-lt"/>
            </a:endParaRPr>
          </a:p>
          <a:p>
            <a:endParaRPr lang="en-US" altLang="zh-CN" sz="1600" dirty="0">
              <a:solidFill>
                <a:schemeClr val="tx1"/>
              </a:solidFill>
              <a:latin typeface="+mn-ea"/>
              <a:cs typeface="+mn-ea"/>
              <a:sym typeface="+mn-lt"/>
            </a:endParaRPr>
          </a:p>
          <a:p>
            <a:endParaRPr lang="en-US" altLang="zh-CN" sz="1600" dirty="0">
              <a:solidFill>
                <a:schemeClr val="tx1"/>
              </a:solidFill>
              <a:latin typeface="+mn-ea"/>
              <a:cs typeface="+mn-ea"/>
              <a:sym typeface="+mn-lt"/>
            </a:endParaRPr>
          </a:p>
          <a:p>
            <a:r>
              <a:rPr lang="en-US" altLang="zh-CN" sz="1600" dirty="0" err="1">
                <a:solidFill>
                  <a:schemeClr val="tx1"/>
                </a:solidFill>
                <a:latin typeface="+mn-ea"/>
                <a:cs typeface="+mn-ea"/>
                <a:sym typeface="+mn-lt"/>
              </a:rPr>
              <a:t>国内收到的不良事件特征和全球收到的一致</a:t>
            </a:r>
            <a:endParaRPr lang="en-US" sz="1600" dirty="0">
              <a:latin typeface="+mn-ea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AF00B69F-8454-44F5-B649-821ACF20EF7C}"/>
              </a:ext>
            </a:extLst>
          </p:cNvPr>
          <p:cNvSpPr txBox="1"/>
          <p:nvPr/>
        </p:nvSpPr>
        <p:spPr>
          <a:xfrm>
            <a:off x="6666288" y="2266931"/>
            <a:ext cx="4761713" cy="461665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altLang="zh-CN" sz="2400" b="1" u="sng" dirty="0" err="1">
                <a:solidFill>
                  <a:srgbClr val="EB842C"/>
                </a:solidFill>
                <a:latin typeface="+mn-ea"/>
                <a:cs typeface="+mn-ea"/>
                <a:sym typeface="+mn-lt"/>
              </a:rPr>
              <a:t>国内</a:t>
            </a:r>
            <a:r>
              <a:rPr lang="en-US" altLang="zh-CN" sz="1800" b="1" u="sng" dirty="0" err="1">
                <a:solidFill>
                  <a:schemeClr val="bg2">
                    <a:lumMod val="50000"/>
                  </a:schemeClr>
                </a:solidFill>
                <a:latin typeface="+mn-ea"/>
                <a:cs typeface="+mn-ea"/>
                <a:sym typeface="+mn-lt"/>
              </a:rPr>
              <a:t>获批</a:t>
            </a:r>
            <a:r>
              <a:rPr lang="zh-CN" altLang="en-US" sz="1800" b="1" u="sng" dirty="0">
                <a:solidFill>
                  <a:schemeClr val="bg2">
                    <a:lumMod val="50000"/>
                  </a:schemeClr>
                </a:solidFill>
                <a:latin typeface="+mn-ea"/>
                <a:cs typeface="+mn-ea"/>
                <a:sym typeface="+mn-lt"/>
              </a:rPr>
              <a:t>自</a:t>
            </a:r>
            <a:r>
              <a:rPr lang="en-US" altLang="zh-CN" sz="1800" b="1" u="sng" dirty="0">
                <a:solidFill>
                  <a:schemeClr val="bg2">
                    <a:lumMod val="50000"/>
                  </a:schemeClr>
                </a:solidFill>
                <a:latin typeface="+mn-ea"/>
                <a:cs typeface="+mn-ea"/>
                <a:sym typeface="+mn-lt"/>
              </a:rPr>
              <a:t>2020-12-29至2022-6-30</a:t>
            </a:r>
            <a:endParaRPr lang="en-US" b="1" u="sng" dirty="0">
              <a:solidFill>
                <a:schemeClr val="bg2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9C8215F5-A6F6-420A-8869-ADF7B4696F34}"/>
              </a:ext>
            </a:extLst>
          </p:cNvPr>
          <p:cNvSpPr txBox="1"/>
          <p:nvPr/>
        </p:nvSpPr>
        <p:spPr>
          <a:xfrm>
            <a:off x="763999" y="2266932"/>
            <a:ext cx="5240872" cy="461665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altLang="zh-CN" sz="2400" b="1" u="sng" dirty="0" err="1">
                <a:solidFill>
                  <a:srgbClr val="EB842C"/>
                </a:solidFill>
                <a:latin typeface="+mn-ea"/>
                <a:cs typeface="+mn-ea"/>
                <a:sym typeface="+mn-lt"/>
              </a:rPr>
              <a:t>全球</a:t>
            </a:r>
            <a:r>
              <a:rPr lang="en-US" altLang="zh-CN" sz="1800" b="1" u="sng" dirty="0" err="1">
                <a:solidFill>
                  <a:schemeClr val="bg2">
                    <a:lumMod val="50000"/>
                  </a:schemeClr>
                </a:solidFill>
                <a:latin typeface="+mn-ea"/>
                <a:cs typeface="+mn-ea"/>
                <a:sym typeface="+mn-lt"/>
              </a:rPr>
              <a:t>首次获批</a:t>
            </a:r>
            <a:r>
              <a:rPr lang="zh-CN" altLang="en-US" sz="1800" b="1" u="sng" dirty="0">
                <a:solidFill>
                  <a:schemeClr val="bg2">
                    <a:lumMod val="50000"/>
                  </a:schemeClr>
                </a:solidFill>
                <a:latin typeface="+mn-ea"/>
                <a:cs typeface="+mn-ea"/>
                <a:sym typeface="+mn-lt"/>
              </a:rPr>
              <a:t>自</a:t>
            </a:r>
            <a:r>
              <a:rPr lang="en-US" altLang="zh-CN" sz="1800" b="1" u="sng" dirty="0">
                <a:solidFill>
                  <a:schemeClr val="bg2">
                    <a:lumMod val="50000"/>
                  </a:schemeClr>
                </a:solidFill>
                <a:latin typeface="+mn-ea"/>
                <a:cs typeface="+mn-ea"/>
                <a:sym typeface="+mn-lt"/>
              </a:rPr>
              <a:t>2018-8-30至2022-2-28</a:t>
            </a:r>
            <a:endParaRPr lang="en-US" b="1" u="sng" dirty="0">
              <a:solidFill>
                <a:schemeClr val="bg2">
                  <a:lumMod val="50000"/>
                </a:schemeClr>
              </a:solidFill>
              <a:latin typeface="+mn-ea"/>
            </a:endParaRPr>
          </a:p>
        </p:txBody>
      </p:sp>
      <p:sp>
        <p:nvSpPr>
          <p:cNvPr id="24" name="平行四边形 23">
            <a:extLst>
              <a:ext uri="{FF2B5EF4-FFF2-40B4-BE49-F238E27FC236}">
                <a16:creationId xmlns:a16="http://schemas.microsoft.com/office/drawing/2014/main" id="{5214CF6E-DE9E-45E4-B33F-51F92410DDA6}"/>
              </a:ext>
            </a:extLst>
          </p:cNvPr>
          <p:cNvSpPr/>
          <p:nvPr/>
        </p:nvSpPr>
        <p:spPr>
          <a:xfrm>
            <a:off x="386937" y="3329990"/>
            <a:ext cx="255255" cy="214782"/>
          </a:xfrm>
          <a:prstGeom prst="parallelogram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5" name="平行四边形 24">
            <a:extLst>
              <a:ext uri="{FF2B5EF4-FFF2-40B4-BE49-F238E27FC236}">
                <a16:creationId xmlns:a16="http://schemas.microsoft.com/office/drawing/2014/main" id="{0FCB0B33-130C-48A4-A198-6C44721BE99B}"/>
              </a:ext>
            </a:extLst>
          </p:cNvPr>
          <p:cNvSpPr/>
          <p:nvPr/>
        </p:nvSpPr>
        <p:spPr>
          <a:xfrm>
            <a:off x="382234" y="4516076"/>
            <a:ext cx="255255" cy="214782"/>
          </a:xfrm>
          <a:prstGeom prst="parallelogram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6" name="平行四边形 25">
            <a:extLst>
              <a:ext uri="{FF2B5EF4-FFF2-40B4-BE49-F238E27FC236}">
                <a16:creationId xmlns:a16="http://schemas.microsoft.com/office/drawing/2014/main" id="{76DB3D55-1CCC-4DE5-84BF-96E7A2CD640F}"/>
              </a:ext>
            </a:extLst>
          </p:cNvPr>
          <p:cNvSpPr/>
          <p:nvPr/>
        </p:nvSpPr>
        <p:spPr>
          <a:xfrm>
            <a:off x="382234" y="5702162"/>
            <a:ext cx="255255" cy="214782"/>
          </a:xfrm>
          <a:prstGeom prst="parallelogram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7" name="平行四边形 26">
            <a:extLst>
              <a:ext uri="{FF2B5EF4-FFF2-40B4-BE49-F238E27FC236}">
                <a16:creationId xmlns:a16="http://schemas.microsoft.com/office/drawing/2014/main" id="{24238493-C7AD-4423-8D2D-6FDC046982D0}"/>
              </a:ext>
            </a:extLst>
          </p:cNvPr>
          <p:cNvSpPr/>
          <p:nvPr/>
        </p:nvSpPr>
        <p:spPr>
          <a:xfrm>
            <a:off x="7067791" y="3372298"/>
            <a:ext cx="255255" cy="214782"/>
          </a:xfrm>
          <a:prstGeom prst="parallelogram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8" name="平行四边形 27">
            <a:extLst>
              <a:ext uri="{FF2B5EF4-FFF2-40B4-BE49-F238E27FC236}">
                <a16:creationId xmlns:a16="http://schemas.microsoft.com/office/drawing/2014/main" id="{560A1A8E-4844-4584-A5AC-752FCA2204E0}"/>
              </a:ext>
            </a:extLst>
          </p:cNvPr>
          <p:cNvSpPr/>
          <p:nvPr/>
        </p:nvSpPr>
        <p:spPr>
          <a:xfrm>
            <a:off x="7067791" y="4351725"/>
            <a:ext cx="255255" cy="214782"/>
          </a:xfrm>
          <a:prstGeom prst="parallelogram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05E4A926-4830-42FD-9A67-D69C05C86A00}"/>
              </a:ext>
            </a:extLst>
          </p:cNvPr>
          <p:cNvCxnSpPr>
            <a:cxnSpLocks/>
          </p:cNvCxnSpPr>
          <p:nvPr/>
        </p:nvCxnSpPr>
        <p:spPr>
          <a:xfrm>
            <a:off x="6471264" y="2782175"/>
            <a:ext cx="0" cy="3467802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灯片编号占位符 1">
            <a:extLst>
              <a:ext uri="{FF2B5EF4-FFF2-40B4-BE49-F238E27FC236}">
                <a16:creationId xmlns:a16="http://schemas.microsoft.com/office/drawing/2014/main" id="{C7764B7B-0123-4B51-AFDE-1E64BF62D0C7}"/>
              </a:ext>
            </a:extLst>
          </p:cNvPr>
          <p:cNvSpPr txBox="1">
            <a:spLocks/>
          </p:cNvSpPr>
          <p:nvPr/>
        </p:nvSpPr>
        <p:spPr>
          <a:xfrm>
            <a:off x="11642025" y="6446140"/>
            <a:ext cx="299381" cy="24622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4</a:t>
            </a:r>
          </a:p>
        </p:txBody>
      </p:sp>
      <p:sp>
        <p:nvSpPr>
          <p:cNvPr id="18" name="标题 1">
            <a:extLst>
              <a:ext uri="{FF2B5EF4-FFF2-40B4-BE49-F238E27FC236}">
                <a16:creationId xmlns:a16="http://schemas.microsoft.com/office/drawing/2014/main" id="{DFC05405-2CF8-4A15-8585-E6B5A8BC8667}"/>
              </a:ext>
            </a:extLst>
          </p:cNvPr>
          <p:cNvSpPr txBox="1">
            <a:spLocks/>
          </p:cNvSpPr>
          <p:nvPr/>
        </p:nvSpPr>
        <p:spPr>
          <a:xfrm>
            <a:off x="373569" y="423688"/>
            <a:ext cx="10067925" cy="850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50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安全性</a:t>
            </a:r>
            <a:endParaRPr lang="zh-CN" altLang="en-US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347F5731-3F3F-4705-A98E-3DA46BADA225}"/>
              </a:ext>
            </a:extLst>
          </p:cNvPr>
          <p:cNvSpPr txBox="1"/>
          <p:nvPr/>
        </p:nvSpPr>
        <p:spPr>
          <a:xfrm>
            <a:off x="193611" y="6446140"/>
            <a:ext cx="261490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000" dirty="0"/>
              <a:t>来源：</a:t>
            </a:r>
            <a:r>
              <a:rPr lang="en-US" sz="1000" dirty="0" err="1"/>
              <a:t>公司全球定期安全性更新报告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7234097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对象 13" hidden="1">
            <a:extLst>
              <a:ext uri="{FF2B5EF4-FFF2-40B4-BE49-F238E27FC236}">
                <a16:creationId xmlns:a16="http://schemas.microsoft.com/office/drawing/2014/main" id="{7523F9DB-EBF7-4551-8C41-321F44E385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0" imgH="469" progId="TCLayout.ActiveDocument.1">
                  <p:embed/>
                </p:oleObj>
              </mc:Choice>
              <mc:Fallback>
                <p:oleObj name="think-cell 幻灯片" r:id="rId3" imgW="470" imgH="469" progId="TCLayout.ActiveDocument.1">
                  <p:embed/>
                  <p:pic>
                    <p:nvPicPr>
                      <p:cNvPr id="14" name="对象 13" hidden="1">
                        <a:extLst>
                          <a:ext uri="{FF2B5EF4-FFF2-40B4-BE49-F238E27FC236}">
                            <a16:creationId xmlns:a16="http://schemas.microsoft.com/office/drawing/2014/main" id="{7523F9DB-EBF7-4551-8C41-321F44E385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EADFF3DD-CBAD-419F-832B-A9E777A74F74}"/>
              </a:ext>
            </a:extLst>
          </p:cNvPr>
          <p:cNvCxnSpPr/>
          <p:nvPr/>
        </p:nvCxnSpPr>
        <p:spPr>
          <a:xfrm>
            <a:off x="6112042" y="2358189"/>
            <a:ext cx="0" cy="3400926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2C2BAD90-8768-4594-B763-EAA5E74C573D}"/>
              </a:ext>
            </a:extLst>
          </p:cNvPr>
          <p:cNvSpPr/>
          <p:nvPr/>
        </p:nvSpPr>
        <p:spPr>
          <a:xfrm>
            <a:off x="355869" y="1373626"/>
            <a:ext cx="11458306" cy="45257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spc="-5" dirty="0">
                <a:solidFill>
                  <a:schemeClr val="bg1"/>
                </a:solidFill>
                <a:cs typeface="+mn-ea"/>
                <a:sym typeface="+mn-lt"/>
              </a:rPr>
              <a:t>中国</a:t>
            </a:r>
            <a:r>
              <a:rPr lang="zh-CN" altLang="en-US" sz="24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超过</a:t>
            </a:r>
            <a:r>
              <a:rPr lang="en-US" altLang="zh-CN" sz="24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6</a:t>
            </a:r>
            <a:r>
              <a:rPr lang="zh-CN" altLang="en-US" sz="24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成</a:t>
            </a:r>
            <a:r>
              <a:rPr lang="en-US" altLang="zh-CN" sz="2000" b="1" spc="-5" dirty="0">
                <a:solidFill>
                  <a:srgbClr val="FFFFFF"/>
                </a:solidFill>
                <a:cs typeface="+mn-ea"/>
                <a:sym typeface="+mn-lt"/>
              </a:rPr>
              <a:t>HIV</a:t>
            </a:r>
            <a:r>
              <a:rPr lang="zh-CN" altLang="en-US" sz="2000" b="1" spc="-5" dirty="0">
                <a:solidFill>
                  <a:srgbClr val="FFFFFF"/>
                </a:solidFill>
                <a:cs typeface="+mn-ea"/>
                <a:sym typeface="+mn-lt"/>
              </a:rPr>
              <a:t>患者</a:t>
            </a:r>
            <a:r>
              <a:rPr lang="zh-CN" altLang="en-US" sz="2000" b="1" spc="-5" dirty="0">
                <a:solidFill>
                  <a:schemeClr val="bg1"/>
                </a:solidFill>
                <a:cs typeface="+mn-ea"/>
                <a:sym typeface="+mn-lt"/>
              </a:rPr>
              <a:t>正在使用非核苷类方案，多拉米替片为</a:t>
            </a:r>
            <a:r>
              <a:rPr lang="zh-CN" altLang="en-US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突破非核苷治疗局限而生</a:t>
            </a:r>
            <a:endParaRPr lang="en-US" sz="2400" b="1" spc="-5" dirty="0">
              <a:solidFill>
                <a:srgbClr val="FCCA5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+mn-ea"/>
              <a:sym typeface="+mn-lt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C2646146-66B8-46CC-82D2-14118DE9015A}"/>
              </a:ext>
            </a:extLst>
          </p:cNvPr>
          <p:cNvSpPr txBox="1"/>
          <p:nvPr/>
        </p:nvSpPr>
        <p:spPr>
          <a:xfrm>
            <a:off x="6785137" y="2134987"/>
            <a:ext cx="6096000" cy="499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2000" b="1" dirty="0">
                <a:solidFill>
                  <a:schemeClr val="accent1"/>
                </a:solidFill>
                <a:cs typeface="+mn-ea"/>
                <a:sym typeface="+mn-lt"/>
              </a:rPr>
              <a:t>耐药发生率低</a:t>
            </a:r>
            <a:endParaRPr lang="en-US" altLang="zh-CN" sz="2000" b="1" baseline="300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CB334593-0C85-48B0-939F-E638E5434646}"/>
              </a:ext>
            </a:extLst>
          </p:cNvPr>
          <p:cNvGrpSpPr/>
          <p:nvPr/>
        </p:nvGrpSpPr>
        <p:grpSpPr>
          <a:xfrm>
            <a:off x="6925486" y="3812476"/>
            <a:ext cx="2275067" cy="1581627"/>
            <a:chOff x="6946231" y="3256082"/>
            <a:chExt cx="3927754" cy="2498466"/>
          </a:xfrm>
        </p:grpSpPr>
        <p:sp>
          <p:nvSpPr>
            <p:cNvPr id="8" name="object 3">
              <a:extLst>
                <a:ext uri="{FF2B5EF4-FFF2-40B4-BE49-F238E27FC236}">
                  <a16:creationId xmlns:a16="http://schemas.microsoft.com/office/drawing/2014/main" id="{550A65E1-F6E9-43A5-879A-75923918C42E}"/>
                </a:ext>
              </a:extLst>
            </p:cNvPr>
            <p:cNvSpPr/>
            <p:nvPr/>
          </p:nvSpPr>
          <p:spPr>
            <a:xfrm>
              <a:off x="6946231" y="3256082"/>
              <a:ext cx="3927754" cy="2498466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>
                <a:cs typeface="+mn-ea"/>
                <a:sym typeface="+mn-lt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164242B1-5DD2-4805-87B8-172C1E07B1D0}"/>
                </a:ext>
              </a:extLst>
            </p:cNvPr>
            <p:cNvSpPr/>
            <p:nvPr/>
          </p:nvSpPr>
          <p:spPr>
            <a:xfrm>
              <a:off x="8360178" y="3531388"/>
              <a:ext cx="2488715" cy="194785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9B9E4E16-53A8-45A6-A9D2-A7F296F537C4}"/>
              </a:ext>
            </a:extLst>
          </p:cNvPr>
          <p:cNvSpPr txBox="1"/>
          <p:nvPr/>
        </p:nvSpPr>
        <p:spPr>
          <a:xfrm>
            <a:off x="7809569" y="3715383"/>
            <a:ext cx="2713567" cy="145757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200000"/>
              </a:lnSpc>
            </a:pPr>
            <a:r>
              <a:rPr lang="zh-CN" altLang="en-US" sz="2400" b="1" dirty="0">
                <a:cs typeface="+mn-ea"/>
                <a:sym typeface="+mn-lt"/>
              </a:rPr>
              <a:t>例</a:t>
            </a:r>
            <a:r>
              <a:rPr lang="en-US" altLang="zh-CN" sz="2400" b="1" dirty="0">
                <a:cs typeface="+mn-ea"/>
                <a:sym typeface="+mn-lt"/>
              </a:rPr>
              <a:t>HIV-1</a:t>
            </a:r>
            <a:r>
              <a:rPr lang="zh-CN" altLang="en-US" sz="2400" b="1" dirty="0">
                <a:cs typeface="+mn-ea"/>
                <a:sym typeface="+mn-lt"/>
              </a:rPr>
              <a:t>感染者</a:t>
            </a:r>
            <a:endParaRPr lang="en-US" altLang="zh-CN" sz="2400" b="1" dirty="0">
              <a:cs typeface="+mn-ea"/>
              <a:sym typeface="+mn-lt"/>
            </a:endParaRPr>
          </a:p>
          <a:p>
            <a:pPr algn="ctr">
              <a:lnSpc>
                <a:spcPct val="200000"/>
              </a:lnSpc>
            </a:pPr>
            <a:r>
              <a:rPr lang="zh-CN" altLang="en-US" sz="2400" b="1" dirty="0">
                <a:cs typeface="+mn-ea"/>
                <a:sym typeface="+mn-lt"/>
              </a:rPr>
              <a:t>出现耐药</a:t>
            </a:r>
            <a:endParaRPr lang="en-US" sz="2400" b="1" dirty="0">
              <a:cs typeface="+mn-ea"/>
              <a:sym typeface="+mn-lt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A2B8B2A5-FDB4-4D43-983D-4CD7E62236BB}"/>
              </a:ext>
            </a:extLst>
          </p:cNvPr>
          <p:cNvSpPr txBox="1"/>
          <p:nvPr/>
        </p:nvSpPr>
        <p:spPr>
          <a:xfrm>
            <a:off x="746715" y="2134987"/>
            <a:ext cx="6096000" cy="499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altLang="zh-CN" sz="2000" b="1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zh-CN" altLang="en-US" sz="2000" b="1" dirty="0">
                <a:solidFill>
                  <a:schemeClr val="accent1"/>
                </a:solidFill>
                <a:cs typeface="+mn-ea"/>
                <a:sym typeface="+mn-lt"/>
              </a:rPr>
              <a:t>有效抑制</a:t>
            </a:r>
            <a:r>
              <a:rPr lang="en-US" altLang="zh-CN" sz="2000" b="1" dirty="0">
                <a:solidFill>
                  <a:schemeClr val="accent1"/>
                </a:solidFill>
                <a:cs typeface="+mn-ea"/>
                <a:sym typeface="+mn-lt"/>
              </a:rPr>
              <a:t>HIV</a:t>
            </a:r>
            <a:r>
              <a:rPr lang="zh-CN" altLang="en-US" sz="2000" b="1" dirty="0">
                <a:solidFill>
                  <a:schemeClr val="accent1"/>
                </a:solidFill>
                <a:cs typeface="+mn-ea"/>
                <a:sym typeface="+mn-lt"/>
              </a:rPr>
              <a:t>病毒</a:t>
            </a:r>
            <a:endParaRPr lang="en-US" altLang="zh-CN" sz="20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A6AD7904-85E7-4796-BD13-861721A324BD}"/>
              </a:ext>
            </a:extLst>
          </p:cNvPr>
          <p:cNvSpPr txBox="1"/>
          <p:nvPr/>
        </p:nvSpPr>
        <p:spPr>
          <a:xfrm>
            <a:off x="864777" y="2682022"/>
            <a:ext cx="2020621" cy="408623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b="1" dirty="0">
                <a:cs typeface="+mn-ea"/>
                <a:sym typeface="+mn-lt"/>
              </a:rPr>
              <a:t>III</a:t>
            </a:r>
            <a:r>
              <a:rPr lang="zh-CN" altLang="en-US" b="1" dirty="0">
                <a:cs typeface="+mn-ea"/>
                <a:sym typeface="+mn-lt"/>
              </a:rPr>
              <a:t>期临床研究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7DAAC278-3867-491F-A304-F58CD9711441}"/>
              </a:ext>
            </a:extLst>
          </p:cNvPr>
          <p:cNvSpPr txBox="1"/>
          <p:nvPr/>
        </p:nvSpPr>
        <p:spPr>
          <a:xfrm>
            <a:off x="6785137" y="3256402"/>
            <a:ext cx="398959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333333"/>
                </a:solidFill>
                <a:cs typeface="+mn-ea"/>
                <a:sym typeface="+mn-lt"/>
              </a:rPr>
              <a:t>经治患者在转换多拉米替片</a:t>
            </a:r>
            <a:r>
              <a:rPr lang="en-US" altLang="zh-CN" sz="2000" dirty="0">
                <a:solidFill>
                  <a:schemeClr val="accent4"/>
                </a:solidFill>
                <a:cs typeface="+mn-ea"/>
                <a:sym typeface="+mn-lt"/>
              </a:rPr>
              <a:t>144</a:t>
            </a:r>
            <a:r>
              <a:rPr lang="zh-CN" altLang="en-US" sz="2000" dirty="0">
                <a:solidFill>
                  <a:schemeClr val="accent4"/>
                </a:solidFill>
                <a:cs typeface="+mn-ea"/>
                <a:sym typeface="+mn-lt"/>
              </a:rPr>
              <a:t>周后</a:t>
            </a:r>
            <a:r>
              <a:rPr lang="en-US" altLang="zh-CN" baseline="30000" dirty="0">
                <a:solidFill>
                  <a:srgbClr val="333333"/>
                </a:solidFill>
                <a:cs typeface="+mn-ea"/>
                <a:sym typeface="+mn-lt"/>
              </a:rPr>
              <a:t>6</a:t>
            </a:r>
            <a:endParaRPr lang="zh-CN" altLang="en-US" baseline="30000" dirty="0">
              <a:solidFill>
                <a:srgbClr val="333333"/>
              </a:solidFill>
              <a:cs typeface="+mn-ea"/>
              <a:sym typeface="+mn-lt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7F6711B1-6978-469D-8B72-8E0645918110}"/>
              </a:ext>
            </a:extLst>
          </p:cNvPr>
          <p:cNvSpPr txBox="1"/>
          <p:nvPr/>
        </p:nvSpPr>
        <p:spPr>
          <a:xfrm>
            <a:off x="6842715" y="2682022"/>
            <a:ext cx="2020621" cy="408623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b="1" dirty="0">
                <a:cs typeface="+mn-ea"/>
                <a:sym typeface="+mn-lt"/>
              </a:rPr>
              <a:t>III</a:t>
            </a:r>
            <a:r>
              <a:rPr lang="zh-CN" altLang="en-US" b="1" dirty="0">
                <a:cs typeface="+mn-ea"/>
                <a:sym typeface="+mn-lt"/>
              </a:rPr>
              <a:t>期临床研究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93E0C47C-9A8A-439D-A7A2-10ECA9D4F856}"/>
              </a:ext>
            </a:extLst>
          </p:cNvPr>
          <p:cNvSpPr txBox="1"/>
          <p:nvPr/>
        </p:nvSpPr>
        <p:spPr>
          <a:xfrm>
            <a:off x="0" y="6405967"/>
            <a:ext cx="64328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spcBef>
                <a:spcPts val="25"/>
              </a:spcBef>
              <a:buAutoNum type="arabicPeriod"/>
            </a:pPr>
            <a:r>
              <a:rPr lang="fr-FR" altLang="zh-CN" sz="800" dirty="0">
                <a:cs typeface="+mn-ea"/>
                <a:sym typeface="+mn-lt"/>
              </a:rPr>
              <a:t>Johnson M et al. J </a:t>
            </a:r>
            <a:r>
              <a:rPr lang="fr-FR" altLang="zh-CN" sz="800" dirty="0" err="1">
                <a:cs typeface="+mn-ea"/>
                <a:sym typeface="+mn-lt"/>
              </a:rPr>
              <a:t>Acquir</a:t>
            </a:r>
            <a:r>
              <a:rPr lang="fr-FR" altLang="zh-CN" sz="800" dirty="0">
                <a:cs typeface="+mn-ea"/>
                <a:sym typeface="+mn-lt"/>
              </a:rPr>
              <a:t> Immune </a:t>
            </a:r>
            <a:r>
              <a:rPr lang="fr-FR" altLang="zh-CN" sz="800" dirty="0" err="1">
                <a:cs typeface="+mn-ea"/>
                <a:sym typeface="+mn-lt"/>
              </a:rPr>
              <a:t>Defic</a:t>
            </a:r>
            <a:r>
              <a:rPr lang="fr-FR" altLang="zh-CN" sz="800" dirty="0">
                <a:cs typeface="+mn-ea"/>
                <a:sym typeface="+mn-lt"/>
              </a:rPr>
              <a:t> </a:t>
            </a:r>
            <a:r>
              <a:rPr lang="fr-FR" altLang="zh-CN" sz="800" dirty="0" err="1">
                <a:cs typeface="+mn-ea"/>
                <a:sym typeface="+mn-lt"/>
              </a:rPr>
              <a:t>Syndr</a:t>
            </a:r>
            <a:r>
              <a:rPr lang="fr-FR" altLang="zh-CN" sz="800" dirty="0">
                <a:cs typeface="+mn-ea"/>
                <a:sym typeface="+mn-lt"/>
              </a:rPr>
              <a:t>. 2019;81(4):463-472. </a:t>
            </a:r>
          </a:p>
          <a:p>
            <a:pPr marL="228600" indent="-228600">
              <a:spcBef>
                <a:spcPts val="25"/>
              </a:spcBef>
              <a:buAutoNum type="arabicPeriod"/>
            </a:pPr>
            <a:r>
              <a:rPr lang="fr-FR" altLang="zh-CN" sz="800" dirty="0">
                <a:cs typeface="+mn-ea"/>
                <a:sym typeface="+mn-lt"/>
              </a:rPr>
              <a:t>Molina JM et al. Lancet HIV. 2018;5(5):e211-e220</a:t>
            </a:r>
          </a:p>
          <a:p>
            <a:pPr marL="228600" indent="-228600">
              <a:spcBef>
                <a:spcPts val="25"/>
              </a:spcBef>
              <a:buAutoNum type="arabicPeriod"/>
            </a:pPr>
            <a:r>
              <a:rPr lang="fr-FR" altLang="zh-CN" sz="800" dirty="0">
                <a:cs typeface="+mn-ea"/>
                <a:sym typeface="+mn-lt"/>
              </a:rPr>
              <a:t>Molina JM, et al. Lancet HIV. 2020;7(1):e16-e26</a:t>
            </a:r>
          </a:p>
        </p:txBody>
      </p:sp>
      <p:grpSp>
        <p:nvGrpSpPr>
          <p:cNvPr id="41" name="组合 40">
            <a:extLst>
              <a:ext uri="{FF2B5EF4-FFF2-40B4-BE49-F238E27FC236}">
                <a16:creationId xmlns:a16="http://schemas.microsoft.com/office/drawing/2014/main" id="{9FF7A268-F496-49FA-8CEC-39C9C81BEB13}"/>
              </a:ext>
            </a:extLst>
          </p:cNvPr>
          <p:cNvGrpSpPr/>
          <p:nvPr/>
        </p:nvGrpSpPr>
        <p:grpSpPr>
          <a:xfrm>
            <a:off x="901009" y="3254111"/>
            <a:ext cx="6432884" cy="2257015"/>
            <a:chOff x="901009" y="3350363"/>
            <a:chExt cx="6432884" cy="2257015"/>
          </a:xfrm>
        </p:grpSpPr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7317C263-5527-4ABA-821B-41B256752254}"/>
                </a:ext>
              </a:extLst>
            </p:cNvPr>
            <p:cNvSpPr txBox="1"/>
            <p:nvPr/>
          </p:nvSpPr>
          <p:spPr>
            <a:xfrm>
              <a:off x="2733469" y="3377715"/>
              <a:ext cx="290533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140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经治患者转换为多拉米替</a:t>
              </a:r>
              <a:r>
                <a:rPr lang="en-US" altLang="zh-CN" sz="140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48</a:t>
              </a:r>
              <a:r>
                <a:rPr lang="zh-CN" altLang="en-US" sz="140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周治疗获得病毒性抑制</a:t>
              </a:r>
              <a:r>
                <a:rPr lang="en-US" altLang="zh-CN" sz="1400" i="0" u="none" strike="noStrike" baseline="30000" dirty="0">
                  <a:solidFill>
                    <a:srgbClr val="333333"/>
                  </a:solidFill>
                  <a:cs typeface="+mn-ea"/>
                  <a:sym typeface="+mn-lt"/>
                </a:rPr>
                <a:t>1</a:t>
              </a:r>
              <a:endParaRPr lang="zh-CN" altLang="en-US" sz="1400" baseline="30000" dirty="0">
                <a:cs typeface="+mn-ea"/>
                <a:sym typeface="+mn-lt"/>
              </a:endParaRPr>
            </a:p>
          </p:txBody>
        </p: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B2054214-98AC-4F10-97A6-CC3FCDBA704A}"/>
                </a:ext>
              </a:extLst>
            </p:cNvPr>
            <p:cNvSpPr txBox="1"/>
            <p:nvPr/>
          </p:nvSpPr>
          <p:spPr>
            <a:xfrm>
              <a:off x="2733469" y="4250040"/>
              <a:ext cx="3137937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14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初治患者转换为多拉米替</a:t>
              </a:r>
              <a:r>
                <a:rPr lang="en-US" altLang="zh-CN" sz="14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48</a:t>
              </a:r>
              <a:r>
                <a:rPr lang="zh-CN" altLang="en-US" sz="14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周治疗获得病毒性抑制</a:t>
              </a:r>
              <a:r>
                <a:rPr lang="en-US" altLang="zh-CN" sz="1400" b="0" i="0" u="none" strike="noStrike" baseline="30000" dirty="0">
                  <a:solidFill>
                    <a:srgbClr val="333333"/>
                  </a:solidFill>
                  <a:cs typeface="+mn-ea"/>
                  <a:sym typeface="+mn-lt"/>
                </a:rPr>
                <a:t>2,3</a:t>
              </a:r>
              <a:endParaRPr lang="zh-CN" altLang="en-US" sz="1400" baseline="30000" dirty="0">
                <a:cs typeface="+mn-ea"/>
                <a:sym typeface="+mn-lt"/>
              </a:endParaRPr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0B7594DE-A99E-468F-8BD6-72140B0459E2}"/>
                </a:ext>
              </a:extLst>
            </p:cNvPr>
            <p:cNvSpPr txBox="1"/>
            <p:nvPr/>
          </p:nvSpPr>
          <p:spPr>
            <a:xfrm>
              <a:off x="901009" y="3350363"/>
              <a:ext cx="2377597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1400" b="1" dirty="0">
                  <a:cs typeface="+mn-ea"/>
                  <a:sym typeface="+mn-lt"/>
                </a:rPr>
                <a:t>约</a:t>
              </a:r>
              <a:r>
                <a:rPr lang="en-US" altLang="zh-CN" sz="3200" b="1" dirty="0">
                  <a:solidFill>
                    <a:srgbClr val="EE9234"/>
                  </a:solidFill>
                  <a:cs typeface="+mn-ea"/>
                  <a:sym typeface="+mn-lt"/>
                </a:rPr>
                <a:t>90%</a:t>
              </a:r>
              <a:endParaRPr lang="zh-CN" altLang="en-US" sz="3200" dirty="0">
                <a:cs typeface="+mn-ea"/>
                <a:sym typeface="+mn-lt"/>
              </a:endParaRP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BDCD80D1-A701-43FC-87FD-FA7F42B4EF1B}"/>
                </a:ext>
              </a:extLst>
            </p:cNvPr>
            <p:cNvSpPr txBox="1"/>
            <p:nvPr/>
          </p:nvSpPr>
          <p:spPr>
            <a:xfrm>
              <a:off x="901009" y="4248038"/>
              <a:ext cx="2377597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1400" b="1" dirty="0">
                  <a:cs typeface="+mn-ea"/>
                  <a:sym typeface="+mn-lt"/>
                </a:rPr>
                <a:t>约</a:t>
              </a:r>
              <a:r>
                <a:rPr lang="en-US" altLang="zh-CN" sz="3200" b="1" dirty="0">
                  <a:solidFill>
                    <a:srgbClr val="EE9234"/>
                  </a:solidFill>
                  <a:cs typeface="+mn-ea"/>
                  <a:sym typeface="+mn-lt"/>
                </a:rPr>
                <a:t>84%</a:t>
              </a:r>
              <a:endParaRPr lang="zh-CN" altLang="en-US" sz="3200" dirty="0">
                <a:cs typeface="+mn-ea"/>
                <a:sym typeface="+mn-lt"/>
              </a:endParaRPr>
            </a:p>
          </p:txBody>
        </p: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1B93FE17-DCF4-485E-A394-BAD2D129C22C}"/>
                </a:ext>
              </a:extLst>
            </p:cNvPr>
            <p:cNvSpPr txBox="1"/>
            <p:nvPr/>
          </p:nvSpPr>
          <p:spPr>
            <a:xfrm>
              <a:off x="901009" y="5145713"/>
              <a:ext cx="6432884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2400" b="1" dirty="0">
                  <a:solidFill>
                    <a:srgbClr val="EE9234"/>
                  </a:solidFill>
                  <a:cs typeface="+mn-ea"/>
                  <a:sym typeface="+mn-lt"/>
                </a:rPr>
                <a:t>不受限制</a:t>
              </a:r>
            </a:p>
          </p:txBody>
        </p:sp>
      </p:grpSp>
      <p:sp>
        <p:nvSpPr>
          <p:cNvPr id="33" name="文本框 32">
            <a:extLst>
              <a:ext uri="{FF2B5EF4-FFF2-40B4-BE49-F238E27FC236}">
                <a16:creationId xmlns:a16="http://schemas.microsoft.com/office/drawing/2014/main" id="{43B771BF-0D83-4F96-9CF0-EBF249C52849}"/>
              </a:ext>
            </a:extLst>
          </p:cNvPr>
          <p:cNvSpPr txBox="1"/>
          <p:nvPr/>
        </p:nvSpPr>
        <p:spPr>
          <a:xfrm>
            <a:off x="-1945779" y="1156606"/>
            <a:ext cx="6440904" cy="2426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lnSpc>
                <a:spcPts val="955"/>
              </a:lnSpc>
              <a:spcBef>
                <a:spcPts val="25"/>
              </a:spcBef>
            </a:pPr>
            <a:r>
              <a:rPr lang="fr-FR" altLang="zh-CN" sz="1800" spc="-5" dirty="0">
                <a:cs typeface="+mn-ea"/>
                <a:sym typeface="+mn-lt"/>
              </a:rPr>
              <a:t>. </a:t>
            </a: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E56F10A1-6CA4-456D-A291-0DE850447C19}"/>
              </a:ext>
            </a:extLst>
          </p:cNvPr>
          <p:cNvSpPr txBox="1"/>
          <p:nvPr/>
        </p:nvSpPr>
        <p:spPr>
          <a:xfrm>
            <a:off x="2733469" y="5026113"/>
            <a:ext cx="270547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333333"/>
                </a:solidFill>
                <a:cs typeface="+mn-ea"/>
                <a:sym typeface="+mn-lt"/>
              </a:rPr>
              <a:t>不同基线病毒载量水平对患者病毒学抑制</a:t>
            </a:r>
            <a:r>
              <a:rPr lang="en-US" altLang="zh-CN" sz="1400" b="1" spc="-10" baseline="30000" dirty="0">
                <a:cs typeface="+mn-ea"/>
                <a:sym typeface="+mn-lt"/>
              </a:rPr>
              <a:t>2,3,4,5</a:t>
            </a:r>
            <a:endParaRPr lang="zh-CN" altLang="en-US" sz="1400" dirty="0">
              <a:solidFill>
                <a:srgbClr val="333333"/>
              </a:solidFill>
              <a:cs typeface="+mn-ea"/>
              <a:sym typeface="+mn-lt"/>
            </a:endParaRPr>
          </a:p>
        </p:txBody>
      </p:sp>
      <p:sp>
        <p:nvSpPr>
          <p:cNvPr id="30" name="文本框 28">
            <a:extLst>
              <a:ext uri="{FF2B5EF4-FFF2-40B4-BE49-F238E27FC236}">
                <a16:creationId xmlns:a16="http://schemas.microsoft.com/office/drawing/2014/main" id="{AD0646DF-4C24-4CD1-890B-82B0031642AF}"/>
              </a:ext>
            </a:extLst>
          </p:cNvPr>
          <p:cNvSpPr txBox="1"/>
          <p:nvPr/>
        </p:nvSpPr>
        <p:spPr>
          <a:xfrm>
            <a:off x="3626273" y="6437531"/>
            <a:ext cx="64328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spcBef>
                <a:spcPts val="25"/>
              </a:spcBef>
              <a:buFont typeface="+mj-lt"/>
              <a:buAutoNum type="arabicPeriod" startAt="4"/>
            </a:pPr>
            <a:r>
              <a:rPr lang="fr-FR" altLang="zh-CN" sz="800" dirty="0" err="1">
                <a:cs typeface="+mn-ea"/>
                <a:sym typeface="+mn-lt"/>
              </a:rPr>
              <a:t>Orkin</a:t>
            </a:r>
            <a:r>
              <a:rPr lang="fr-FR" altLang="zh-CN" sz="800" dirty="0">
                <a:cs typeface="+mn-ea"/>
                <a:sym typeface="+mn-lt"/>
              </a:rPr>
              <a:t> C et al. Clin Infect Dis. 2019;68(4):535-544.</a:t>
            </a:r>
          </a:p>
          <a:p>
            <a:pPr marL="228600" indent="-228600">
              <a:spcBef>
                <a:spcPts val="25"/>
              </a:spcBef>
              <a:buFont typeface="+mj-lt"/>
              <a:buAutoNum type="arabicPeriod" startAt="4"/>
            </a:pPr>
            <a:r>
              <a:rPr lang="fr-FR" altLang="zh-CN" sz="800" dirty="0" err="1">
                <a:cs typeface="+mn-ea"/>
                <a:sym typeface="+mn-lt"/>
              </a:rPr>
              <a:t>Orkin</a:t>
            </a:r>
            <a:r>
              <a:rPr lang="fr-FR" altLang="zh-CN" sz="800" dirty="0">
                <a:cs typeface="+mn-ea"/>
                <a:sym typeface="+mn-lt"/>
              </a:rPr>
              <a:t> C, et al. Clin Infect Dis. 2020 </a:t>
            </a:r>
            <a:r>
              <a:rPr lang="fr-FR" altLang="zh-CN" sz="800" dirty="0" err="1">
                <a:cs typeface="+mn-ea"/>
                <a:sym typeface="+mn-lt"/>
              </a:rPr>
              <a:t>Dec</a:t>
            </a:r>
            <a:r>
              <a:rPr lang="fr-FR" altLang="zh-CN" sz="800" dirty="0">
                <a:cs typeface="+mn-ea"/>
                <a:sym typeface="+mn-lt"/>
              </a:rPr>
              <a:t> 18:ciaa822.</a:t>
            </a:r>
          </a:p>
          <a:p>
            <a:pPr marL="228600" indent="-228600">
              <a:spcBef>
                <a:spcPts val="25"/>
              </a:spcBef>
              <a:buFont typeface="+mj-lt"/>
              <a:buAutoNum type="arabicPeriod" startAt="4"/>
            </a:pPr>
            <a:r>
              <a:rPr lang="en-US" altLang="zh-CN" sz="800" dirty="0">
                <a:cs typeface="+mn-ea"/>
                <a:sym typeface="+mn-lt"/>
              </a:rPr>
              <a:t>Kumar P, et al. J </a:t>
            </a:r>
            <a:r>
              <a:rPr lang="en-US" altLang="zh-CN" sz="800" dirty="0" err="1">
                <a:cs typeface="+mn-ea"/>
                <a:sym typeface="+mn-lt"/>
              </a:rPr>
              <a:t>Acquir</a:t>
            </a:r>
            <a:r>
              <a:rPr lang="en-US" altLang="zh-CN" sz="800" dirty="0">
                <a:cs typeface="+mn-ea"/>
                <a:sym typeface="+mn-lt"/>
              </a:rPr>
              <a:t> Immune </a:t>
            </a:r>
            <a:r>
              <a:rPr lang="en-US" altLang="zh-CN" sz="800" dirty="0" err="1">
                <a:cs typeface="+mn-ea"/>
                <a:sym typeface="+mn-lt"/>
              </a:rPr>
              <a:t>Defic</a:t>
            </a:r>
            <a:r>
              <a:rPr lang="en-US" altLang="zh-CN" sz="800" dirty="0">
                <a:cs typeface="+mn-ea"/>
                <a:sym typeface="+mn-lt"/>
              </a:rPr>
              <a:t> </a:t>
            </a:r>
            <a:r>
              <a:rPr lang="en-US" altLang="zh-CN" sz="800" dirty="0" err="1">
                <a:cs typeface="+mn-ea"/>
                <a:sym typeface="+mn-lt"/>
              </a:rPr>
              <a:t>Syndr</a:t>
            </a:r>
            <a:r>
              <a:rPr lang="en-US" altLang="zh-CN" sz="800" dirty="0">
                <a:cs typeface="+mn-ea"/>
                <a:sym typeface="+mn-lt"/>
              </a:rPr>
              <a:t>. 2021 Feb 17. </a:t>
            </a:r>
          </a:p>
        </p:txBody>
      </p:sp>
      <p:sp>
        <p:nvSpPr>
          <p:cNvPr id="32" name="灯片编号占位符 1">
            <a:extLst>
              <a:ext uri="{FF2B5EF4-FFF2-40B4-BE49-F238E27FC236}">
                <a16:creationId xmlns:a16="http://schemas.microsoft.com/office/drawing/2014/main" id="{D2403E62-A964-4C06-8129-253A045BF62F}"/>
              </a:ext>
            </a:extLst>
          </p:cNvPr>
          <p:cNvSpPr txBox="1">
            <a:spLocks/>
          </p:cNvSpPr>
          <p:nvPr/>
        </p:nvSpPr>
        <p:spPr>
          <a:xfrm>
            <a:off x="11669586" y="6469178"/>
            <a:ext cx="229431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5</a:t>
            </a:r>
          </a:p>
        </p:txBody>
      </p:sp>
      <p:sp>
        <p:nvSpPr>
          <p:cNvPr id="28" name="标题 1">
            <a:extLst>
              <a:ext uri="{FF2B5EF4-FFF2-40B4-BE49-F238E27FC236}">
                <a16:creationId xmlns:a16="http://schemas.microsoft.com/office/drawing/2014/main" id="{7E794B03-D127-423D-A00D-4DE9E3023C23}"/>
              </a:ext>
            </a:extLst>
          </p:cNvPr>
          <p:cNvSpPr txBox="1">
            <a:spLocks/>
          </p:cNvSpPr>
          <p:nvPr/>
        </p:nvSpPr>
        <p:spPr>
          <a:xfrm>
            <a:off x="373569" y="423688"/>
            <a:ext cx="10067925" cy="850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50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有效性</a:t>
            </a:r>
            <a:endParaRPr lang="zh-CN" altLang="en-US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344926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C27D211F-5234-4954-9D83-46ABA9FC910B}"/>
              </a:ext>
            </a:extLst>
          </p:cNvPr>
          <p:cNvSpPr>
            <a:spLocks/>
          </p:cNvSpPr>
          <p:nvPr/>
        </p:nvSpPr>
        <p:spPr>
          <a:xfrm>
            <a:off x="825038" y="2405585"/>
            <a:ext cx="3164614" cy="354374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" name="Rectangle: Rounded Corners 53">
            <a:extLst>
              <a:ext uri="{FF2B5EF4-FFF2-40B4-BE49-F238E27FC236}">
                <a16:creationId xmlns:a16="http://schemas.microsoft.com/office/drawing/2014/main" id="{B1635280-17D4-43F9-8348-19D8B6FC6DDE}"/>
              </a:ext>
            </a:extLst>
          </p:cNvPr>
          <p:cNvSpPr>
            <a:spLocks/>
          </p:cNvSpPr>
          <p:nvPr/>
        </p:nvSpPr>
        <p:spPr>
          <a:xfrm>
            <a:off x="825038" y="2408439"/>
            <a:ext cx="3164614" cy="599405"/>
          </a:xfrm>
          <a:prstGeom prst="roundRect">
            <a:avLst>
              <a:gd name="adj" fmla="val 0"/>
            </a:avLst>
          </a:prstGeom>
          <a:solidFill>
            <a:schemeClr val="accent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ea"/>
                <a:sym typeface="+mn-lt"/>
              </a:rPr>
              <a:t>中国艾滋病诊疗指南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ea"/>
              <a:sym typeface="+mn-lt"/>
            </a:endParaRPr>
          </a:p>
          <a:p>
            <a:pPr algn="ctr">
              <a:defRPr/>
            </a:pPr>
            <a:r>
              <a:rPr kumimoji="0" lang="en-GB" altLang="zh-CN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ea"/>
                <a:sym typeface="+mn-lt"/>
              </a:rPr>
              <a:t>2021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ea"/>
                <a:sym typeface="+mn-lt"/>
              </a:rPr>
              <a:t>年版</a:t>
            </a:r>
            <a:r>
              <a:rPr kumimoji="0" lang="en-GB" altLang="zh-CN" sz="1600" b="0" i="0" u="none" strike="noStrike" kern="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ea"/>
                <a:sym typeface="+mn-lt"/>
              </a:rPr>
              <a:t>1</a:t>
            </a:r>
            <a:endParaRPr kumimoji="0" lang="zh-CN" altLang="en-US" sz="1600" b="0" i="0" u="none" strike="noStrike" kern="0" cap="none" spc="0" normalizeH="0" baseline="3000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0" name="Rectangle: Rounded Corners 75">
            <a:extLst>
              <a:ext uri="{FF2B5EF4-FFF2-40B4-BE49-F238E27FC236}">
                <a16:creationId xmlns:a16="http://schemas.microsoft.com/office/drawing/2014/main" id="{CA2CD0AD-237F-4D94-B5E9-74A7902214A9}"/>
              </a:ext>
            </a:extLst>
          </p:cNvPr>
          <p:cNvSpPr>
            <a:spLocks/>
          </p:cNvSpPr>
          <p:nvPr/>
        </p:nvSpPr>
        <p:spPr>
          <a:xfrm>
            <a:off x="4463929" y="2408439"/>
            <a:ext cx="3164614" cy="599405"/>
          </a:xfrm>
          <a:prstGeom prst="roundRect">
            <a:avLst>
              <a:gd name="adj" fmla="val 0"/>
            </a:avLst>
          </a:prstGeom>
          <a:solidFill>
            <a:schemeClr val="accent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kern="0" dirty="0">
                <a:solidFill>
                  <a:schemeClr val="bg1"/>
                </a:solidFill>
                <a:cs typeface="+mn-ea"/>
                <a:sym typeface="+mn-lt"/>
              </a:rPr>
              <a:t>欧洲</a:t>
            </a:r>
            <a:r>
              <a:rPr lang="en-US" altLang="zh-CN" sz="1600" b="1" kern="0" dirty="0">
                <a:solidFill>
                  <a:schemeClr val="bg1"/>
                </a:solidFill>
                <a:cs typeface="+mn-ea"/>
                <a:sym typeface="+mn-lt"/>
              </a:rPr>
              <a:t>EACS</a:t>
            </a:r>
            <a:r>
              <a:rPr lang="zh-CN" altLang="en-US" sz="1600" b="1" kern="0" dirty="0">
                <a:solidFill>
                  <a:schemeClr val="bg1"/>
                </a:solidFill>
                <a:cs typeface="+mn-ea"/>
                <a:sym typeface="+mn-lt"/>
              </a:rPr>
              <a:t>指南</a:t>
            </a:r>
            <a:endParaRPr lang="en-GB" altLang="zh-CN" sz="1600" b="1" kern="0" dirty="0">
              <a:solidFill>
                <a:schemeClr val="bg1"/>
              </a:solidFill>
              <a:cs typeface="+mn-ea"/>
              <a:sym typeface="+mn-lt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zh-CN" sz="1600" b="1" kern="0" dirty="0">
                <a:solidFill>
                  <a:schemeClr val="bg1"/>
                </a:solidFill>
                <a:cs typeface="+mn-ea"/>
                <a:sym typeface="+mn-lt"/>
              </a:rPr>
              <a:t>2021</a:t>
            </a:r>
            <a:r>
              <a:rPr lang="zh-CN" altLang="en-US" sz="1600" b="1" kern="0" dirty="0">
                <a:solidFill>
                  <a:schemeClr val="bg1"/>
                </a:solidFill>
                <a:cs typeface="+mn-ea"/>
                <a:sym typeface="+mn-lt"/>
              </a:rPr>
              <a:t>年版</a:t>
            </a:r>
            <a:r>
              <a:rPr lang="en-GB" altLang="zh-CN" sz="1600" b="1" kern="0" baseline="30000" dirty="0">
                <a:solidFill>
                  <a:schemeClr val="bg1"/>
                </a:solidFill>
                <a:cs typeface="+mn-ea"/>
                <a:sym typeface="+mn-lt"/>
              </a:rPr>
              <a:t>2</a:t>
            </a:r>
            <a:endParaRPr lang="zh-CN" altLang="en-US" sz="1600" b="1" kern="0" baseline="300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3" name="Rectangle: Rounded Corners 79">
            <a:extLst>
              <a:ext uri="{FF2B5EF4-FFF2-40B4-BE49-F238E27FC236}">
                <a16:creationId xmlns:a16="http://schemas.microsoft.com/office/drawing/2014/main" id="{278BD2B0-DDB9-47E2-A839-1E790522D770}"/>
              </a:ext>
            </a:extLst>
          </p:cNvPr>
          <p:cNvSpPr>
            <a:spLocks/>
          </p:cNvSpPr>
          <p:nvPr/>
        </p:nvSpPr>
        <p:spPr>
          <a:xfrm>
            <a:off x="8081096" y="2405585"/>
            <a:ext cx="3164614" cy="599405"/>
          </a:xfrm>
          <a:prstGeom prst="roundRect">
            <a:avLst>
              <a:gd name="adj" fmla="val 0"/>
            </a:avLst>
          </a:prstGeom>
          <a:solidFill>
            <a:schemeClr val="accent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kern="0" dirty="0">
                <a:solidFill>
                  <a:schemeClr val="bg1"/>
                </a:solidFill>
                <a:cs typeface="+mn-ea"/>
                <a:sym typeface="+mn-lt"/>
              </a:rPr>
              <a:t>美国</a:t>
            </a:r>
            <a:r>
              <a:rPr lang="en-US" altLang="zh-CN" sz="1600" b="1" kern="0" dirty="0">
                <a:solidFill>
                  <a:schemeClr val="bg1"/>
                </a:solidFill>
                <a:cs typeface="+mn-ea"/>
                <a:sym typeface="+mn-lt"/>
              </a:rPr>
              <a:t>DHHS</a:t>
            </a:r>
            <a:r>
              <a:rPr lang="zh-CN" altLang="en-US" sz="1600" b="1" kern="0" dirty="0">
                <a:solidFill>
                  <a:schemeClr val="bg1"/>
                </a:solidFill>
                <a:cs typeface="+mn-ea"/>
                <a:sym typeface="+mn-lt"/>
              </a:rPr>
              <a:t>指南</a:t>
            </a:r>
            <a:endParaRPr lang="en-GB" altLang="zh-CN" sz="1600" b="1" kern="0" dirty="0">
              <a:solidFill>
                <a:schemeClr val="bg1"/>
              </a:solidFill>
              <a:cs typeface="+mn-ea"/>
              <a:sym typeface="+mn-lt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zh-CN" sz="1600" b="1" kern="0" dirty="0">
                <a:solidFill>
                  <a:schemeClr val="bg1"/>
                </a:solidFill>
                <a:cs typeface="+mn-ea"/>
                <a:sym typeface="+mn-lt"/>
              </a:rPr>
              <a:t>2022</a:t>
            </a:r>
            <a:r>
              <a:rPr lang="zh-CN" altLang="en-US" sz="1600" b="1" kern="0" dirty="0">
                <a:solidFill>
                  <a:schemeClr val="bg1"/>
                </a:solidFill>
                <a:cs typeface="+mn-ea"/>
                <a:sym typeface="+mn-lt"/>
              </a:rPr>
              <a:t>年版</a:t>
            </a:r>
            <a:r>
              <a:rPr lang="en-GB" altLang="zh-CN" sz="1600" b="1" kern="0" baseline="30000" dirty="0">
                <a:solidFill>
                  <a:schemeClr val="bg1"/>
                </a:solidFill>
                <a:cs typeface="+mn-ea"/>
                <a:sym typeface="+mn-lt"/>
              </a:rPr>
              <a:t>3</a:t>
            </a:r>
            <a:endParaRPr lang="zh-CN" altLang="en-US" sz="1600" b="1" kern="0" baseline="300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F7BFA8D9-FAAA-45A5-8FC5-B8D88A775412}"/>
              </a:ext>
            </a:extLst>
          </p:cNvPr>
          <p:cNvSpPr txBox="1"/>
          <p:nvPr/>
        </p:nvSpPr>
        <p:spPr>
          <a:xfrm>
            <a:off x="946289" y="3395069"/>
            <a:ext cx="2759242" cy="15257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600" dirty="0">
                <a:cs typeface="+mn-ea"/>
                <a:sym typeface="+mn-lt"/>
              </a:rPr>
              <a:t>推荐</a:t>
            </a:r>
            <a:r>
              <a:rPr lang="zh-CN" altLang="en-US" sz="1600" b="1" dirty="0">
                <a:cs typeface="+mn-ea"/>
                <a:sym typeface="+mn-lt"/>
              </a:rPr>
              <a:t>多拉米替片</a:t>
            </a:r>
            <a:endParaRPr lang="en-US" altLang="zh-CN" sz="1600" b="1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600" b="1" dirty="0">
                <a:solidFill>
                  <a:schemeClr val="accent1"/>
                </a:solidFill>
                <a:cs typeface="+mn-ea"/>
                <a:sym typeface="+mn-lt"/>
              </a:rPr>
              <a:t>作为初治人群</a:t>
            </a:r>
            <a:r>
              <a:rPr lang="zh-CN" altLang="en-US" sz="1600" b="1" dirty="0">
                <a:solidFill>
                  <a:srgbClr val="EB842C"/>
                </a:solidFill>
                <a:cs typeface="+mn-ea"/>
                <a:sym typeface="+mn-lt"/>
              </a:rPr>
              <a:t>一线</a:t>
            </a:r>
            <a:r>
              <a:rPr lang="zh-CN" altLang="en-US" sz="1600" b="1" dirty="0">
                <a:solidFill>
                  <a:schemeClr val="accent1"/>
                </a:solidFill>
                <a:cs typeface="+mn-ea"/>
                <a:sym typeface="+mn-lt"/>
              </a:rPr>
              <a:t>方案</a:t>
            </a:r>
            <a:endParaRPr lang="en-US" altLang="zh-CN" sz="1600" b="1" dirty="0">
              <a:solidFill>
                <a:schemeClr val="accent1"/>
              </a:solidFill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600" dirty="0">
                <a:cs typeface="+mn-ea"/>
                <a:sym typeface="+mn-lt"/>
              </a:rPr>
              <a:t>（与参照药品艾考恩丙替片属于</a:t>
            </a:r>
            <a:r>
              <a:rPr lang="zh-CN" altLang="en-US" sz="1600" b="1" dirty="0">
                <a:solidFill>
                  <a:srgbClr val="EB842C"/>
                </a:solidFill>
                <a:cs typeface="+mn-ea"/>
                <a:sym typeface="+mn-lt"/>
              </a:rPr>
              <a:t>同等</a:t>
            </a:r>
            <a:r>
              <a:rPr lang="zh-CN" altLang="en-US" sz="1600" b="1" dirty="0">
                <a:solidFill>
                  <a:schemeClr val="accent1"/>
                </a:solidFill>
                <a:cs typeface="+mn-ea"/>
                <a:sym typeface="+mn-lt"/>
              </a:rPr>
              <a:t>推荐等级</a:t>
            </a:r>
            <a:r>
              <a:rPr lang="zh-CN" altLang="en-US" sz="1600" dirty="0">
                <a:cs typeface="+mn-ea"/>
                <a:sym typeface="+mn-lt"/>
              </a:rPr>
              <a:t>）</a:t>
            </a:r>
            <a:endParaRPr lang="en-US" altLang="zh-CN" sz="1600" dirty="0">
              <a:cs typeface="+mn-ea"/>
              <a:sym typeface="+mn-lt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83C34D0C-7012-48F4-81B3-2D8C67087D6B}"/>
              </a:ext>
            </a:extLst>
          </p:cNvPr>
          <p:cNvSpPr>
            <a:spLocks/>
          </p:cNvSpPr>
          <p:nvPr/>
        </p:nvSpPr>
        <p:spPr>
          <a:xfrm>
            <a:off x="4463929" y="2405585"/>
            <a:ext cx="3164614" cy="353667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EC72A1B1-D9E3-4754-84C3-6A458FF4FCDE}"/>
              </a:ext>
            </a:extLst>
          </p:cNvPr>
          <p:cNvSpPr>
            <a:spLocks/>
          </p:cNvSpPr>
          <p:nvPr/>
        </p:nvSpPr>
        <p:spPr>
          <a:xfrm>
            <a:off x="8081097" y="2405585"/>
            <a:ext cx="3164614" cy="353667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641187B0-47EF-4A79-97F3-E20DE41A1215}"/>
              </a:ext>
            </a:extLst>
          </p:cNvPr>
          <p:cNvSpPr txBox="1"/>
          <p:nvPr/>
        </p:nvSpPr>
        <p:spPr>
          <a:xfrm>
            <a:off x="4526543" y="3389951"/>
            <a:ext cx="2838972" cy="15257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600" dirty="0">
                <a:cs typeface="+mn-ea"/>
                <a:sym typeface="+mn-lt"/>
              </a:rPr>
              <a:t>推荐</a:t>
            </a:r>
            <a:r>
              <a:rPr lang="zh-CN" altLang="en-US" sz="1600" b="1" dirty="0">
                <a:cs typeface="+mn-ea"/>
                <a:sym typeface="+mn-lt"/>
              </a:rPr>
              <a:t>多拉米替片</a:t>
            </a:r>
            <a:endParaRPr lang="en-US" altLang="zh-CN" sz="1600" b="1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600" b="1" dirty="0">
                <a:solidFill>
                  <a:schemeClr val="accent1"/>
                </a:solidFill>
                <a:cs typeface="+mn-ea"/>
                <a:sym typeface="+mn-lt"/>
              </a:rPr>
              <a:t>作为初治人群</a:t>
            </a:r>
            <a:r>
              <a:rPr lang="zh-CN" altLang="en-US" sz="1600" b="1" dirty="0">
                <a:solidFill>
                  <a:srgbClr val="EB842C"/>
                </a:solidFill>
                <a:cs typeface="+mn-ea"/>
                <a:sym typeface="+mn-lt"/>
              </a:rPr>
              <a:t>一线</a:t>
            </a:r>
            <a:r>
              <a:rPr lang="zh-CN" altLang="en-US" sz="1600" b="1" dirty="0">
                <a:solidFill>
                  <a:schemeClr val="accent1"/>
                </a:solidFill>
                <a:cs typeface="+mn-ea"/>
                <a:sym typeface="+mn-lt"/>
              </a:rPr>
              <a:t>方案</a:t>
            </a:r>
            <a:endParaRPr lang="en-US" altLang="zh-CN" sz="1600" b="1" dirty="0">
              <a:solidFill>
                <a:schemeClr val="accent1"/>
              </a:solidFill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600" dirty="0">
                <a:cs typeface="+mn-ea"/>
                <a:sym typeface="+mn-lt"/>
              </a:rPr>
              <a:t>（</a:t>
            </a:r>
            <a:r>
              <a:rPr lang="zh-CN" altLang="en-US" sz="1600" b="1" dirty="0">
                <a:solidFill>
                  <a:schemeClr val="accent1"/>
                </a:solidFill>
                <a:cs typeface="+mn-ea"/>
                <a:sym typeface="+mn-lt"/>
              </a:rPr>
              <a:t>推荐等级</a:t>
            </a:r>
            <a:r>
              <a:rPr lang="zh-CN" altLang="en-US" sz="1600" b="1" dirty="0">
                <a:solidFill>
                  <a:srgbClr val="EB842C"/>
                </a:solidFill>
                <a:cs typeface="+mn-ea"/>
                <a:sym typeface="+mn-lt"/>
              </a:rPr>
              <a:t>高于</a:t>
            </a:r>
            <a:r>
              <a:rPr lang="zh-CN" altLang="en-US" sz="1600" dirty="0">
                <a:cs typeface="+mn-ea"/>
                <a:sym typeface="+mn-lt"/>
              </a:rPr>
              <a:t>参照药品艾考恩丙替片）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0D3E7FEA-4B70-46E5-B948-CA5B90F17B72}"/>
              </a:ext>
            </a:extLst>
          </p:cNvPr>
          <p:cNvSpPr txBox="1"/>
          <p:nvPr/>
        </p:nvSpPr>
        <p:spPr>
          <a:xfrm>
            <a:off x="8047935" y="3400797"/>
            <a:ext cx="3230935" cy="15257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600" dirty="0">
                <a:cs typeface="+mn-ea"/>
                <a:sym typeface="+mn-lt"/>
              </a:rPr>
              <a:t>推荐</a:t>
            </a:r>
            <a:r>
              <a:rPr lang="zh-CN" altLang="en-US" sz="1600" b="1" dirty="0">
                <a:cs typeface="+mn-ea"/>
                <a:sym typeface="+mn-lt"/>
              </a:rPr>
              <a:t>多拉米替片</a:t>
            </a:r>
            <a:endParaRPr lang="en-US" altLang="zh-CN" sz="1600" b="1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600" b="1" dirty="0">
                <a:solidFill>
                  <a:schemeClr val="accent1"/>
                </a:solidFill>
                <a:cs typeface="+mn-ea"/>
                <a:sym typeface="+mn-lt"/>
              </a:rPr>
              <a:t>作为初治人群特定情况下推荐方案</a:t>
            </a:r>
            <a:endParaRPr lang="en-US" altLang="zh-CN" sz="1600" b="1" dirty="0">
              <a:solidFill>
                <a:schemeClr val="accent1"/>
              </a:solidFill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600" dirty="0">
                <a:cs typeface="+mn-ea"/>
                <a:sym typeface="+mn-lt"/>
              </a:rPr>
              <a:t>（与参照药品艾考恩丙替片属于</a:t>
            </a:r>
            <a:endParaRPr lang="en-US" altLang="zh-CN" sz="16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600" b="1" dirty="0">
                <a:solidFill>
                  <a:srgbClr val="EB842C"/>
                </a:solidFill>
                <a:cs typeface="+mn-ea"/>
                <a:sym typeface="+mn-lt"/>
              </a:rPr>
              <a:t>同等</a:t>
            </a:r>
            <a:r>
              <a:rPr lang="zh-CN" altLang="en-US" sz="1600" b="1" dirty="0">
                <a:solidFill>
                  <a:schemeClr val="accent1"/>
                </a:solidFill>
                <a:cs typeface="+mn-ea"/>
                <a:sym typeface="+mn-lt"/>
              </a:rPr>
              <a:t>推荐等级</a:t>
            </a:r>
            <a:r>
              <a:rPr lang="zh-CN" altLang="en-US" sz="1600" dirty="0">
                <a:cs typeface="+mn-ea"/>
                <a:sym typeface="+mn-lt"/>
              </a:rPr>
              <a:t>）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1B54B64B-B46C-4B2D-A41A-2BABA77B2272}"/>
              </a:ext>
            </a:extLst>
          </p:cNvPr>
          <p:cNvSpPr txBox="1"/>
          <p:nvPr/>
        </p:nvSpPr>
        <p:spPr>
          <a:xfrm>
            <a:off x="113342" y="6249342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zh-CN" sz="800" b="0" i="0" u="none" strike="noStrike" baseline="0" dirty="0">
                <a:solidFill>
                  <a:srgbClr val="333333"/>
                </a:solidFill>
                <a:cs typeface="+mn-ea"/>
                <a:sym typeface="+mn-lt"/>
              </a:rPr>
              <a:t>1.</a:t>
            </a:r>
            <a:r>
              <a:rPr lang="zh-CN" altLang="en-US" sz="800" b="0" i="0" u="none" strike="noStrike" baseline="0" dirty="0">
                <a:solidFill>
                  <a:srgbClr val="333333"/>
                </a:solidFill>
                <a:cs typeface="+mn-ea"/>
                <a:sym typeface="+mn-lt"/>
              </a:rPr>
              <a:t>中华医学会感染病学分会艾滋病丙型肝炎学组</a:t>
            </a:r>
            <a:r>
              <a:rPr lang="en-US" altLang="zh-CN" sz="800" b="0" i="0" u="none" strike="noStrike" baseline="0" dirty="0">
                <a:solidFill>
                  <a:srgbClr val="333333"/>
                </a:solidFill>
                <a:cs typeface="+mn-ea"/>
                <a:sym typeface="+mn-lt"/>
              </a:rPr>
              <a:t>, </a:t>
            </a:r>
            <a:r>
              <a:rPr lang="zh-CN" altLang="en-US" sz="800" b="0" i="0" u="none" strike="noStrike" baseline="0" dirty="0">
                <a:solidFill>
                  <a:srgbClr val="333333"/>
                </a:solidFill>
                <a:cs typeface="+mn-ea"/>
                <a:sym typeface="+mn-lt"/>
              </a:rPr>
              <a:t>等</a:t>
            </a:r>
            <a:r>
              <a:rPr lang="en-US" altLang="zh-CN" sz="800" b="0" i="0" u="none" strike="noStrike" baseline="0" dirty="0">
                <a:solidFill>
                  <a:srgbClr val="333333"/>
                </a:solidFill>
                <a:cs typeface="+mn-ea"/>
                <a:sym typeface="+mn-lt"/>
              </a:rPr>
              <a:t>. </a:t>
            </a:r>
            <a:r>
              <a:rPr lang="zh-CN" altLang="en-US" sz="800" b="0" i="0" u="none" strike="noStrike" baseline="0" dirty="0">
                <a:solidFill>
                  <a:srgbClr val="333333"/>
                </a:solidFill>
                <a:cs typeface="+mn-ea"/>
                <a:sym typeface="+mn-lt"/>
              </a:rPr>
              <a:t>中国艾滋病性病</a:t>
            </a:r>
            <a:r>
              <a:rPr lang="en-US" altLang="zh-CN" sz="800" b="0" i="0" u="none" strike="noStrike" baseline="0" dirty="0">
                <a:solidFill>
                  <a:srgbClr val="333333"/>
                </a:solidFill>
                <a:cs typeface="+mn-ea"/>
                <a:sym typeface="+mn-lt"/>
              </a:rPr>
              <a:t>. 2021;27(11):1182-01.</a:t>
            </a:r>
          </a:p>
          <a:p>
            <a:pPr algn="l"/>
            <a:r>
              <a:rPr lang="en-US" altLang="zh-CN" sz="800" dirty="0">
                <a:solidFill>
                  <a:srgbClr val="333333"/>
                </a:solidFill>
                <a:cs typeface="+mn-ea"/>
                <a:sym typeface="+mn-lt"/>
              </a:rPr>
              <a:t>2</a:t>
            </a:r>
            <a:r>
              <a:rPr lang="en-US" altLang="zh-CN" sz="800" b="0" i="0" u="none" strike="noStrike" baseline="0" dirty="0">
                <a:solidFill>
                  <a:srgbClr val="333333"/>
                </a:solidFill>
                <a:cs typeface="+mn-ea"/>
                <a:sym typeface="+mn-lt"/>
              </a:rPr>
              <a:t>.EACS GUIDELINES Version 11.0. 2021.</a:t>
            </a:r>
          </a:p>
          <a:p>
            <a:pPr algn="l"/>
            <a:r>
              <a:rPr lang="en-US" altLang="zh-CN" sz="800" dirty="0">
                <a:solidFill>
                  <a:srgbClr val="333333"/>
                </a:solidFill>
                <a:cs typeface="+mn-ea"/>
                <a:sym typeface="+mn-lt"/>
              </a:rPr>
              <a:t>3</a:t>
            </a:r>
            <a:r>
              <a:rPr lang="en-US" altLang="zh-CN" sz="800" b="0" i="0" u="none" strike="noStrike" baseline="0" dirty="0">
                <a:solidFill>
                  <a:srgbClr val="333333"/>
                </a:solidFill>
                <a:cs typeface="+mn-ea"/>
                <a:sym typeface="+mn-lt"/>
              </a:rPr>
              <a:t>.DHHS. Guidelines for the Use of Antiretroviral Agents in Adults and Adolescents with HIV. 2022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1404526E-CD7B-48EC-B30F-83958286BCD6}"/>
              </a:ext>
            </a:extLst>
          </p:cNvPr>
          <p:cNvSpPr/>
          <p:nvPr/>
        </p:nvSpPr>
        <p:spPr>
          <a:xfrm>
            <a:off x="366847" y="1364938"/>
            <a:ext cx="11458306" cy="4525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>
                <a:solidFill>
                  <a:schemeClr val="bg1"/>
                </a:solidFill>
                <a:cs typeface="+mn-ea"/>
                <a:sym typeface="+mn-lt"/>
              </a:rPr>
              <a:t>多拉米替片</a:t>
            </a:r>
            <a:r>
              <a:rPr lang="zh-CN" altLang="en-US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三大权威指南一致推荐</a:t>
            </a:r>
            <a:r>
              <a:rPr lang="zh-CN" altLang="en-US" sz="2000" b="1" dirty="0">
                <a:solidFill>
                  <a:schemeClr val="bg1"/>
                </a:solidFill>
                <a:cs typeface="+mn-ea"/>
                <a:sym typeface="+mn-lt"/>
              </a:rPr>
              <a:t>的成人</a:t>
            </a:r>
            <a:r>
              <a:rPr lang="en-US" altLang="zh-CN" sz="2000" b="1" dirty="0">
                <a:solidFill>
                  <a:schemeClr val="bg1"/>
                </a:solidFill>
                <a:cs typeface="+mn-ea"/>
                <a:sym typeface="+mn-lt"/>
              </a:rPr>
              <a:t>HIV</a:t>
            </a:r>
            <a:r>
              <a:rPr lang="zh-CN" altLang="en-US" sz="2000" b="1" dirty="0">
                <a:solidFill>
                  <a:schemeClr val="bg1"/>
                </a:solidFill>
                <a:cs typeface="+mn-ea"/>
                <a:sym typeface="+mn-lt"/>
              </a:rPr>
              <a:t>感染者</a:t>
            </a:r>
            <a:r>
              <a:rPr lang="zh-CN" altLang="en-US" sz="24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一线</a:t>
            </a:r>
            <a:r>
              <a:rPr lang="zh-CN" altLang="en-US" sz="2000" b="1" dirty="0">
                <a:solidFill>
                  <a:schemeClr val="bg1"/>
                </a:solidFill>
                <a:cs typeface="+mn-ea"/>
                <a:sym typeface="+mn-lt"/>
              </a:rPr>
              <a:t>含</a:t>
            </a:r>
            <a:r>
              <a:rPr lang="en-US" altLang="zh-CN" sz="2000" b="1" dirty="0">
                <a:solidFill>
                  <a:schemeClr val="bg1"/>
                </a:solidFill>
                <a:cs typeface="+mn-ea"/>
                <a:sym typeface="+mn-lt"/>
              </a:rPr>
              <a:t>NNRTIs</a:t>
            </a:r>
            <a:r>
              <a:rPr lang="zh-CN" altLang="en-US" sz="2000" b="1" dirty="0">
                <a:solidFill>
                  <a:schemeClr val="bg1"/>
                </a:solidFill>
                <a:cs typeface="+mn-ea"/>
                <a:sym typeface="+mn-lt"/>
              </a:rPr>
              <a:t>治疗方案</a:t>
            </a:r>
            <a:endParaRPr lang="zh-CN" altLang="en-US" sz="20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9" name="灯片编号占位符 1">
            <a:extLst>
              <a:ext uri="{FF2B5EF4-FFF2-40B4-BE49-F238E27FC236}">
                <a16:creationId xmlns:a16="http://schemas.microsoft.com/office/drawing/2014/main" id="{2F76BE27-F68E-4B58-A0B5-F8C6D25D2533}"/>
              </a:ext>
            </a:extLst>
          </p:cNvPr>
          <p:cNvSpPr txBox="1">
            <a:spLocks/>
          </p:cNvSpPr>
          <p:nvPr/>
        </p:nvSpPr>
        <p:spPr>
          <a:xfrm>
            <a:off x="11669586" y="6469178"/>
            <a:ext cx="229431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6</a:t>
            </a:r>
          </a:p>
        </p:txBody>
      </p:sp>
      <p:sp>
        <p:nvSpPr>
          <p:cNvPr id="22" name="标题 1">
            <a:extLst>
              <a:ext uri="{FF2B5EF4-FFF2-40B4-BE49-F238E27FC236}">
                <a16:creationId xmlns:a16="http://schemas.microsoft.com/office/drawing/2014/main" id="{37EB6D85-AA4B-43C1-8CBC-DC72183EF935}"/>
              </a:ext>
            </a:extLst>
          </p:cNvPr>
          <p:cNvSpPr txBox="1">
            <a:spLocks/>
          </p:cNvSpPr>
          <p:nvPr/>
        </p:nvSpPr>
        <p:spPr>
          <a:xfrm>
            <a:off x="373569" y="423688"/>
            <a:ext cx="10067925" cy="850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50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有效性</a:t>
            </a:r>
            <a:endParaRPr lang="zh-CN" altLang="en-US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35277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17EC9D8-A0C8-4739-BE66-ADB3253FAD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9624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17EC9D8-A0C8-4739-BE66-ADB3253FAD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椭圆 17">
            <a:extLst>
              <a:ext uri="{FF2B5EF4-FFF2-40B4-BE49-F238E27FC236}">
                <a16:creationId xmlns:a16="http://schemas.microsoft.com/office/drawing/2014/main" id="{7F862EA6-6CC7-42DF-A3AE-CFFE6A0D5411}"/>
              </a:ext>
            </a:extLst>
          </p:cNvPr>
          <p:cNvSpPr/>
          <p:nvPr/>
        </p:nvSpPr>
        <p:spPr>
          <a:xfrm>
            <a:off x="3794334" y="3932405"/>
            <a:ext cx="144681" cy="144000"/>
          </a:xfrm>
          <a:prstGeom prst="ellipse">
            <a:avLst/>
          </a:prstGeom>
          <a:solidFill>
            <a:srgbClr val="E7E6E6">
              <a:lumMod val="75000"/>
            </a:srgbClr>
          </a:solidFill>
          <a:ln w="57150" cap="rnd" cmpd="sng" algn="ctr">
            <a:noFill/>
            <a:prstDash val="solid"/>
            <a:round/>
          </a:ln>
          <a:effectLst>
            <a:outerShdw blurRad="76200" dist="50800" dir="5400000" algn="ctr" rotWithShape="0">
              <a:srgbClr val="A5A5A5">
                <a:alpha val="20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37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8" name="椭圆 19">
            <a:extLst>
              <a:ext uri="{FF2B5EF4-FFF2-40B4-BE49-F238E27FC236}">
                <a16:creationId xmlns:a16="http://schemas.microsoft.com/office/drawing/2014/main" id="{641B5712-60E0-404D-8119-BA8322E5BDD5}"/>
              </a:ext>
            </a:extLst>
          </p:cNvPr>
          <p:cNvSpPr/>
          <p:nvPr/>
        </p:nvSpPr>
        <p:spPr>
          <a:xfrm>
            <a:off x="4030372" y="3383670"/>
            <a:ext cx="144680" cy="144000"/>
          </a:xfrm>
          <a:prstGeom prst="ellipse">
            <a:avLst/>
          </a:prstGeom>
          <a:solidFill>
            <a:srgbClr val="E7E6E6">
              <a:lumMod val="75000"/>
            </a:srgbClr>
          </a:solidFill>
          <a:ln w="57150" cap="rnd" cmpd="sng" algn="ctr">
            <a:noFill/>
            <a:prstDash val="solid"/>
            <a:round/>
          </a:ln>
          <a:effectLst>
            <a:outerShdw blurRad="76200" dist="50800" dir="5400000" algn="ctr" rotWithShape="0">
              <a:srgbClr val="4472C4">
                <a:alpha val="20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37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9" name="椭圆 13">
            <a:extLst>
              <a:ext uri="{FF2B5EF4-FFF2-40B4-BE49-F238E27FC236}">
                <a16:creationId xmlns:a16="http://schemas.microsoft.com/office/drawing/2014/main" id="{841CE17C-8839-4B73-8F8A-812F8A9E6FB5}"/>
              </a:ext>
            </a:extLst>
          </p:cNvPr>
          <p:cNvSpPr/>
          <p:nvPr/>
        </p:nvSpPr>
        <p:spPr>
          <a:xfrm flipH="1">
            <a:off x="7992744" y="4371863"/>
            <a:ext cx="144000" cy="144000"/>
          </a:xfrm>
          <a:prstGeom prst="ellipse">
            <a:avLst/>
          </a:prstGeom>
          <a:solidFill>
            <a:srgbClr val="00857C"/>
          </a:solidFill>
          <a:ln w="57150" cap="rnd" cmpd="sng" algn="ctr">
            <a:noFill/>
            <a:prstDash val="solid"/>
            <a:round/>
          </a:ln>
          <a:effectLst>
            <a:outerShdw blurRad="76200" dist="50800" dir="5400000" algn="ctr" rotWithShape="0">
              <a:srgbClr val="ED7D31">
                <a:alpha val="20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25000" lnSpcReduction="20000"/>
          </a:bodyPr>
          <a:lstStyle/>
          <a:p>
            <a:pPr marL="0" marR="0" lvl="0" indent="0" algn="ctr" defTabSz="9137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0" name="椭圆 15">
            <a:extLst>
              <a:ext uri="{FF2B5EF4-FFF2-40B4-BE49-F238E27FC236}">
                <a16:creationId xmlns:a16="http://schemas.microsoft.com/office/drawing/2014/main" id="{E919B955-FEB5-4416-9E82-4CF39564D878}"/>
              </a:ext>
            </a:extLst>
          </p:cNvPr>
          <p:cNvSpPr/>
          <p:nvPr/>
        </p:nvSpPr>
        <p:spPr>
          <a:xfrm flipH="1">
            <a:off x="7920132" y="3598135"/>
            <a:ext cx="144000" cy="144000"/>
          </a:xfrm>
          <a:prstGeom prst="ellipse">
            <a:avLst/>
          </a:prstGeom>
          <a:solidFill>
            <a:srgbClr val="00857C"/>
          </a:solidFill>
          <a:ln w="57150" cap="rnd" cmpd="sng" algn="ctr">
            <a:noFill/>
            <a:prstDash val="solid"/>
            <a:round/>
          </a:ln>
          <a:effectLst>
            <a:outerShdw blurRad="76200" dist="50800" dir="5400000" algn="ctr" rotWithShape="0">
              <a:srgbClr val="ED7D31">
                <a:alpha val="20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25000" lnSpcReduction="20000"/>
          </a:bodyPr>
          <a:lstStyle/>
          <a:p>
            <a:pPr marL="0" marR="0" lvl="0" indent="0" algn="ctr" defTabSz="9137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1" name="椭圆 16">
            <a:extLst>
              <a:ext uri="{FF2B5EF4-FFF2-40B4-BE49-F238E27FC236}">
                <a16:creationId xmlns:a16="http://schemas.microsoft.com/office/drawing/2014/main" id="{F70C75FB-A1A3-4303-970D-F43A42C7E372}"/>
              </a:ext>
            </a:extLst>
          </p:cNvPr>
          <p:cNvSpPr/>
          <p:nvPr/>
        </p:nvSpPr>
        <p:spPr>
          <a:xfrm flipH="1">
            <a:off x="3802660" y="4551822"/>
            <a:ext cx="144000" cy="144000"/>
          </a:xfrm>
          <a:prstGeom prst="ellipse">
            <a:avLst/>
          </a:prstGeom>
          <a:solidFill>
            <a:srgbClr val="E7E6E6">
              <a:lumMod val="75000"/>
            </a:srgbClr>
          </a:solidFill>
          <a:ln w="57150" cap="rnd" cmpd="sng" algn="ctr">
            <a:noFill/>
            <a:prstDash val="solid"/>
            <a:round/>
          </a:ln>
          <a:effectLst>
            <a:outerShdw blurRad="76200" dist="50800" dir="5400000" algn="ctr" rotWithShape="0">
              <a:srgbClr val="70AD47">
                <a:alpha val="20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37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2" name="椭圆 49">
            <a:extLst>
              <a:ext uri="{FF2B5EF4-FFF2-40B4-BE49-F238E27FC236}">
                <a16:creationId xmlns:a16="http://schemas.microsoft.com/office/drawing/2014/main" id="{4CADE7B5-A8AC-4496-AA3A-E97123B10B71}"/>
              </a:ext>
            </a:extLst>
          </p:cNvPr>
          <p:cNvSpPr/>
          <p:nvPr/>
        </p:nvSpPr>
        <p:spPr>
          <a:xfrm>
            <a:off x="4112410" y="5101421"/>
            <a:ext cx="144681" cy="144000"/>
          </a:xfrm>
          <a:prstGeom prst="ellipse">
            <a:avLst/>
          </a:prstGeom>
          <a:solidFill>
            <a:srgbClr val="E7E6E6">
              <a:lumMod val="75000"/>
            </a:srgbClr>
          </a:solidFill>
          <a:ln w="57150" cap="rnd" cmpd="sng" algn="ctr">
            <a:noFill/>
            <a:prstDash val="solid"/>
            <a:round/>
          </a:ln>
          <a:effectLst>
            <a:outerShdw blurRad="76200" dist="50800" dir="5400000" algn="ctr" rotWithShape="0">
              <a:srgbClr val="4472C4">
                <a:alpha val="20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25000" lnSpcReduction="20000"/>
          </a:bodyPr>
          <a:lstStyle/>
          <a:p>
            <a:pPr marL="0" marR="0" lvl="0" indent="0" algn="ctr" defTabSz="9137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3" name="文本框 41">
            <a:extLst>
              <a:ext uri="{FF2B5EF4-FFF2-40B4-BE49-F238E27FC236}">
                <a16:creationId xmlns:a16="http://schemas.microsoft.com/office/drawing/2014/main" id="{CFA33144-9131-4DCA-A3E3-D63F83AE4479}"/>
              </a:ext>
            </a:extLst>
          </p:cNvPr>
          <p:cNvSpPr txBox="1"/>
          <p:nvPr/>
        </p:nvSpPr>
        <p:spPr>
          <a:xfrm>
            <a:off x="8150645" y="3504204"/>
            <a:ext cx="40413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对</a:t>
            </a:r>
            <a:r>
              <a:rPr lang="en-US" altLang="zh-CN" b="1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LDL-C</a:t>
            </a:r>
            <a:r>
              <a:rPr lang="zh-CN" altLang="en-US" b="1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和非</a:t>
            </a:r>
            <a:r>
              <a:rPr lang="en-US" altLang="zh-CN" b="1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DL-C</a:t>
            </a:r>
            <a:r>
              <a:rPr lang="zh-CN" altLang="en-US" b="1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具有相对优效性</a:t>
            </a:r>
            <a:r>
              <a:rPr lang="en-GB" altLang="zh-CN" spc="5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8</a:t>
            </a:r>
            <a:endParaRPr lang="en-US" spc="5" baseline="3000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4" name="文本框 42">
            <a:extLst>
              <a:ext uri="{FF2B5EF4-FFF2-40B4-BE49-F238E27FC236}">
                <a16:creationId xmlns:a16="http://schemas.microsoft.com/office/drawing/2014/main" id="{EB228861-9C21-4F68-8539-10A400822A0C}"/>
              </a:ext>
            </a:extLst>
          </p:cNvPr>
          <p:cNvSpPr txBox="1"/>
          <p:nvPr/>
        </p:nvSpPr>
        <p:spPr>
          <a:xfrm>
            <a:off x="8172642" y="4236852"/>
            <a:ext cx="2419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 b="1" spc="5">
                <a:solidFill>
                  <a:srgbClr val="EA6B14"/>
                </a:solidFill>
                <a:cs typeface="+mn-ea"/>
              </a:defRPr>
            </a:lvl1pPr>
          </a:lstStyle>
          <a:p>
            <a:r>
              <a:rPr lang="zh-CN" altLang="en-US" sz="1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体重增加轻微</a:t>
            </a:r>
            <a:r>
              <a:rPr lang="en-GB" altLang="zh-CN" sz="1800" b="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8</a:t>
            </a:r>
            <a:endParaRPr lang="en-US" sz="1800" b="0" baseline="30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5" name="文本框 48">
            <a:extLst>
              <a:ext uri="{FF2B5EF4-FFF2-40B4-BE49-F238E27FC236}">
                <a16:creationId xmlns:a16="http://schemas.microsoft.com/office/drawing/2014/main" id="{DBA2D278-41E7-413C-B850-51E479B40287}"/>
              </a:ext>
            </a:extLst>
          </p:cNvPr>
          <p:cNvSpPr txBox="1"/>
          <p:nvPr/>
        </p:nvSpPr>
        <p:spPr>
          <a:xfrm>
            <a:off x="1222637" y="4039712"/>
            <a:ext cx="2248372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zh-CN" altLang="en-US" sz="13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经治疗患者</a:t>
            </a:r>
            <a:r>
              <a:rPr lang="en-US" altLang="zh-CN" sz="13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144</a:t>
            </a:r>
            <a:r>
              <a:rPr lang="zh-CN" altLang="en-US" sz="13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周耐药率为</a:t>
            </a:r>
            <a:r>
              <a:rPr lang="en-GB" altLang="zh-CN" sz="1300" b="1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0</a:t>
            </a:r>
            <a:endParaRPr lang="en-US" sz="1300" b="1" spc="5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6" name="文本框 40">
            <a:extLst>
              <a:ext uri="{FF2B5EF4-FFF2-40B4-BE49-F238E27FC236}">
                <a16:creationId xmlns:a16="http://schemas.microsoft.com/office/drawing/2014/main" id="{B020CD35-8AE1-48AC-8481-0A19FFD8945F}"/>
              </a:ext>
            </a:extLst>
          </p:cNvPr>
          <p:cNvSpPr txBox="1"/>
          <p:nvPr/>
        </p:nvSpPr>
        <p:spPr>
          <a:xfrm>
            <a:off x="159339" y="4477982"/>
            <a:ext cx="3470810" cy="42099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r"/>
            <a:r>
              <a:rPr lang="zh-CN" altLang="en-US" b="1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导致停药的不良事件发生率低</a:t>
            </a:r>
            <a:r>
              <a:rPr lang="en-GB" altLang="zh-CN" sz="1600" baseline="30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7,8</a:t>
            </a:r>
            <a:endParaRPr lang="en-US" spc="5" baseline="30000" dirty="0">
              <a:solidFill>
                <a:srgbClr val="FF5858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C9F2E7B3-722F-456D-ADBE-90BB6CDFDBF2}"/>
              </a:ext>
            </a:extLst>
          </p:cNvPr>
          <p:cNvSpPr txBox="1"/>
          <p:nvPr/>
        </p:nvSpPr>
        <p:spPr>
          <a:xfrm>
            <a:off x="906161" y="5032676"/>
            <a:ext cx="2957206" cy="369332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defPPr>
              <a:defRPr lang="en-US"/>
            </a:defPPr>
            <a:lvl1pPr algn="r">
              <a:defRPr b="1"/>
            </a:lvl1pPr>
          </a:lstStyle>
          <a:p>
            <a:r>
              <a:rPr lang="zh-CN" altLang="en-US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与其他药物相互作用少</a:t>
            </a:r>
            <a:r>
              <a:rPr lang="en-GB" altLang="zh-CN" sz="1600" b="0" baseline="30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2,9</a:t>
            </a:r>
            <a:endParaRPr lang="zh-CN" altLang="en-US" sz="1600" b="0" baseline="300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5D3C6AA9-6EA6-499E-AEB3-FA96EF2113BF}"/>
              </a:ext>
            </a:extLst>
          </p:cNvPr>
          <p:cNvGrpSpPr/>
          <p:nvPr/>
        </p:nvGrpSpPr>
        <p:grpSpPr>
          <a:xfrm>
            <a:off x="3895556" y="2921483"/>
            <a:ext cx="4217206" cy="2700912"/>
            <a:chOff x="3869805" y="3872261"/>
            <a:chExt cx="3881033" cy="2456034"/>
          </a:xfrm>
        </p:grpSpPr>
        <p:grpSp>
          <p:nvGrpSpPr>
            <p:cNvPr id="69" name="组合 9">
              <a:extLst>
                <a:ext uri="{FF2B5EF4-FFF2-40B4-BE49-F238E27FC236}">
                  <a16:creationId xmlns:a16="http://schemas.microsoft.com/office/drawing/2014/main" id="{36B8828F-AFB8-4DBD-8E9C-C6E4F9177BEF}"/>
                </a:ext>
              </a:extLst>
            </p:cNvPr>
            <p:cNvGrpSpPr/>
            <p:nvPr/>
          </p:nvGrpSpPr>
          <p:grpSpPr>
            <a:xfrm>
              <a:off x="3869805" y="3886290"/>
              <a:ext cx="3881033" cy="2327158"/>
              <a:chOff x="3265283" y="2083451"/>
              <a:chExt cx="4552820" cy="3105231"/>
            </a:xfrm>
          </p:grpSpPr>
          <p:sp>
            <p:nvSpPr>
              <p:cNvPr id="73" name="椭圆 21">
                <a:extLst>
                  <a:ext uri="{FF2B5EF4-FFF2-40B4-BE49-F238E27FC236}">
                    <a16:creationId xmlns:a16="http://schemas.microsoft.com/office/drawing/2014/main" id="{BAB7ACBB-DCFF-4440-98FA-DB974A57930F}"/>
                  </a:ext>
                </a:extLst>
              </p:cNvPr>
              <p:cNvSpPr/>
              <p:nvPr/>
            </p:nvSpPr>
            <p:spPr>
              <a:xfrm>
                <a:off x="3265283" y="2083451"/>
                <a:ext cx="2720547" cy="3057684"/>
              </a:xfrm>
              <a:prstGeom prst="ellipse">
                <a:avLst/>
              </a:prstGeom>
              <a:noFill/>
              <a:ln w="12700" cap="rnd" cmpd="sng" algn="ctr">
                <a:solidFill>
                  <a:sysClr val="windowText" lastClr="000000">
                    <a:lumMod val="50000"/>
                    <a:lumOff val="50000"/>
                    <a:alpha val="20000"/>
                  </a:sysClr>
                </a:solidFill>
                <a:prstDash val="solid"/>
                <a:round/>
              </a:ln>
              <a:effectLst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74" name="椭圆 22">
                <a:extLst>
                  <a:ext uri="{FF2B5EF4-FFF2-40B4-BE49-F238E27FC236}">
                    <a16:creationId xmlns:a16="http://schemas.microsoft.com/office/drawing/2014/main" id="{CDE34E78-A3A8-4DE1-B6F8-03B8D71EF1B4}"/>
                  </a:ext>
                </a:extLst>
              </p:cNvPr>
              <p:cNvSpPr/>
              <p:nvPr/>
            </p:nvSpPr>
            <p:spPr>
              <a:xfrm>
                <a:off x="5097556" y="2130998"/>
                <a:ext cx="2720547" cy="3057684"/>
              </a:xfrm>
              <a:prstGeom prst="ellipse">
                <a:avLst/>
              </a:prstGeom>
              <a:noFill/>
              <a:ln w="12700" cap="rnd" cmpd="sng" algn="ctr">
                <a:solidFill>
                  <a:sysClr val="windowText" lastClr="000000">
                    <a:lumMod val="50000"/>
                    <a:lumOff val="50000"/>
                    <a:alpha val="20000"/>
                  </a:sysClr>
                </a:solidFill>
                <a:prstDash val="solid"/>
                <a:round/>
              </a:ln>
              <a:effectLst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</p:grpSp>
        <p:sp>
          <p:nvSpPr>
            <p:cNvPr id="70" name="椭圆 12">
              <a:extLst>
                <a:ext uri="{FF2B5EF4-FFF2-40B4-BE49-F238E27FC236}">
                  <a16:creationId xmlns:a16="http://schemas.microsoft.com/office/drawing/2014/main" id="{30ACBFA5-C3B3-40F6-A9F1-ED223D358323}"/>
                </a:ext>
              </a:extLst>
            </p:cNvPr>
            <p:cNvSpPr/>
            <p:nvPr/>
          </p:nvSpPr>
          <p:spPr>
            <a:xfrm>
              <a:off x="4632326" y="3886291"/>
              <a:ext cx="2319120" cy="2291525"/>
            </a:xfrm>
            <a:prstGeom prst="ellipse">
              <a:avLst/>
            </a:prstGeom>
            <a:pattFill prst="pct90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 w="50800" cap="flat" cmpd="sng" algn="ctr">
              <a:noFill/>
              <a:prstDash val="solid"/>
              <a:round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71" name="object 10">
              <a:extLst>
                <a:ext uri="{FF2B5EF4-FFF2-40B4-BE49-F238E27FC236}">
                  <a16:creationId xmlns:a16="http://schemas.microsoft.com/office/drawing/2014/main" id="{3CB7BAF7-F4CD-4767-9DFC-81D1EF5C440C}"/>
                </a:ext>
              </a:extLst>
            </p:cNvPr>
            <p:cNvSpPr/>
            <p:nvPr/>
          </p:nvSpPr>
          <p:spPr>
            <a:xfrm>
              <a:off x="4632326" y="4476623"/>
              <a:ext cx="2451093" cy="1851672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F2B38138-056D-431D-963B-BC908AA9EBB0}"/>
                </a:ext>
              </a:extLst>
            </p:cNvPr>
            <p:cNvSpPr txBox="1"/>
            <p:nvPr/>
          </p:nvSpPr>
          <p:spPr>
            <a:xfrm>
              <a:off x="4278494" y="3872261"/>
              <a:ext cx="2859779" cy="7556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多拉米替片 </a:t>
              </a:r>
              <a:endParaRPr kumimoji="0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突破传统非核苷局限</a:t>
              </a:r>
              <a:endParaRPr kumimoji="0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711599D1-911B-4176-AE21-28CD55429C1B}"/>
              </a:ext>
            </a:extLst>
          </p:cNvPr>
          <p:cNvSpPr txBox="1"/>
          <p:nvPr/>
        </p:nvSpPr>
        <p:spPr>
          <a:xfrm>
            <a:off x="1065739" y="3273537"/>
            <a:ext cx="26568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zh-CN" altLang="en-US" b="1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有效的病毒学抑制</a:t>
            </a:r>
            <a:r>
              <a:rPr lang="en-GB" altLang="zh-CN" sz="1600" baseline="30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4,5</a:t>
            </a:r>
            <a:endParaRPr lang="en-US" altLang="zh-CN" sz="1600" baseline="300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FF06E399-5223-4982-891C-BA68E1BC91C4}"/>
              </a:ext>
            </a:extLst>
          </p:cNvPr>
          <p:cNvSpPr txBox="1"/>
          <p:nvPr/>
        </p:nvSpPr>
        <p:spPr>
          <a:xfrm>
            <a:off x="1443343" y="3779668"/>
            <a:ext cx="20276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b="1"/>
            </a:lvl1pPr>
          </a:lstStyle>
          <a:p>
            <a:pPr algn="r"/>
            <a:r>
              <a:rPr lang="zh-CN" altLang="en-US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耐药率低</a:t>
            </a:r>
            <a:r>
              <a:rPr lang="en-GB" altLang="zh-CN" sz="1600" b="0" baseline="30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6</a:t>
            </a:r>
            <a:endParaRPr lang="en-US" altLang="zh-CN" sz="1600" b="0" baseline="300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BBD6806C-D866-455B-98B0-DF6532C7C9F1}"/>
              </a:ext>
            </a:extLst>
          </p:cNvPr>
          <p:cNvSpPr txBox="1"/>
          <p:nvPr/>
        </p:nvSpPr>
        <p:spPr>
          <a:xfrm>
            <a:off x="-56235" y="6438715"/>
            <a:ext cx="419514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000">
              <a:buFontTx/>
              <a:buAutoNum type="arabicPeriod"/>
            </a:pPr>
            <a:r>
              <a:rPr lang="zh-CN" altLang="en-US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中华医学会感染病学分会艾滋病丙型肝炎学组，等</a:t>
            </a:r>
            <a:r>
              <a:rPr lang="en-GB" altLang="zh-CN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.</a:t>
            </a:r>
            <a:r>
              <a:rPr lang="zh-CN" altLang="en-US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中国艾滋病性病</a:t>
            </a:r>
            <a:r>
              <a:rPr lang="en-GB" altLang="zh-CN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. 2021;27(11):1182-01.</a:t>
            </a:r>
            <a:endParaRPr lang="en-US" altLang="zh-CN" sz="700">
              <a:solidFill>
                <a:prstClr val="black"/>
              </a:solidFill>
              <a:latin typeface="Arial" panose="020F0502020204030204"/>
              <a:ea typeface="微软雅黑"/>
              <a:cs typeface="+mn-ea"/>
              <a:sym typeface="+mn-lt"/>
            </a:endParaRPr>
          </a:p>
          <a:p>
            <a:pPr marL="108000">
              <a:buFontTx/>
              <a:buAutoNum type="arabicPeriod"/>
            </a:pPr>
            <a:r>
              <a:rPr lang="en-US" altLang="zh-CN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EACS GUIDELINES Version 11.0. 2021.</a:t>
            </a:r>
          </a:p>
          <a:p>
            <a:pPr marL="108000">
              <a:buFontTx/>
              <a:buAutoNum type="arabicPeriod"/>
            </a:pPr>
            <a:r>
              <a:rPr lang="en-US" altLang="zh-CN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DHHS. Guidelines for the Use of Antiretroviral Agents in Adults and Adolescents with HIV. 2022.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45314F52-95FA-4291-BA00-70F5217E7D03}"/>
              </a:ext>
            </a:extLst>
          </p:cNvPr>
          <p:cNvSpPr txBox="1"/>
          <p:nvPr/>
        </p:nvSpPr>
        <p:spPr>
          <a:xfrm>
            <a:off x="4038722" y="6438715"/>
            <a:ext cx="351282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000">
              <a:buFont typeface="+mj-lt"/>
              <a:buAutoNum type="arabicPeriod" startAt="4"/>
            </a:pPr>
            <a:r>
              <a:rPr lang="en-US" altLang="zh-CN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Orkin, et al. 2021 IAS. Poster.</a:t>
            </a:r>
          </a:p>
          <a:p>
            <a:pPr marL="108000">
              <a:buFont typeface="+mj-lt"/>
              <a:buAutoNum type="arabicPeriod" startAt="4"/>
            </a:pPr>
            <a:r>
              <a:rPr lang="fr-FR" altLang="zh-CN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Johnson M et al. J </a:t>
            </a:r>
            <a:r>
              <a:rPr lang="fr-FR" altLang="zh-CN" sz="700" err="1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Acquir</a:t>
            </a:r>
            <a:r>
              <a:rPr lang="fr-FR" altLang="zh-CN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 Immune </a:t>
            </a:r>
            <a:r>
              <a:rPr lang="fr-FR" altLang="zh-CN" sz="700" err="1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Defic</a:t>
            </a:r>
            <a:r>
              <a:rPr lang="fr-FR" altLang="zh-CN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 </a:t>
            </a:r>
            <a:r>
              <a:rPr lang="fr-FR" altLang="zh-CN" sz="700" err="1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Syndr</a:t>
            </a:r>
            <a:r>
              <a:rPr lang="fr-FR" altLang="zh-CN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. 2019;81(4):463-472.</a:t>
            </a:r>
          </a:p>
          <a:p>
            <a:pPr marL="108000">
              <a:buFont typeface="+mj-lt"/>
              <a:buAutoNum type="arabicPeriod" startAt="4"/>
            </a:pPr>
            <a:r>
              <a:rPr lang="en-US" altLang="zh-CN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Kumar P, et al. J </a:t>
            </a:r>
            <a:r>
              <a:rPr lang="en-US" altLang="zh-CN" sz="700" err="1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Acquir</a:t>
            </a:r>
            <a:r>
              <a:rPr lang="en-US" altLang="zh-CN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 Immune </a:t>
            </a:r>
            <a:r>
              <a:rPr lang="en-US" altLang="zh-CN" sz="700" err="1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Defic</a:t>
            </a:r>
            <a:r>
              <a:rPr lang="en-US" altLang="zh-CN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 </a:t>
            </a:r>
            <a:r>
              <a:rPr lang="en-US" altLang="zh-CN" sz="700" err="1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Syndr</a:t>
            </a:r>
            <a:r>
              <a:rPr lang="en-US" altLang="zh-CN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. 2021;87(2):801-805.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8E6CED35-8A59-4214-ADF0-612B007A3939}"/>
              </a:ext>
            </a:extLst>
          </p:cNvPr>
          <p:cNvSpPr txBox="1"/>
          <p:nvPr/>
        </p:nvSpPr>
        <p:spPr>
          <a:xfrm>
            <a:off x="7049235" y="6438715"/>
            <a:ext cx="307074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>
              <a:buFont typeface="+mj-lt"/>
              <a:buAutoNum type="arabicPeriod" startAt="7"/>
            </a:pPr>
            <a:r>
              <a:rPr lang="fr-FR" altLang="zh-CN" sz="800">
                <a:solidFill>
                  <a:prstClr val="black"/>
                </a:solidFill>
                <a:latin typeface="Arial" panose="020F0502020204030204"/>
                <a:ea typeface="微软雅黑"/>
              </a:rPr>
              <a:t>Molina JM et al. Lancet HIV. 2018;5(5):e211-e220.</a:t>
            </a:r>
            <a:endParaRPr lang="fr-FR" altLang="zh-CN" sz="800">
              <a:solidFill>
                <a:prstClr val="black"/>
              </a:solidFill>
              <a:latin typeface="Arial" panose="020F0502020204030204"/>
              <a:ea typeface="微软雅黑"/>
              <a:cs typeface="+mn-ea"/>
              <a:sym typeface="+mn-lt"/>
            </a:endParaRPr>
          </a:p>
          <a:p>
            <a:pPr marL="228600">
              <a:buFont typeface="+mj-lt"/>
              <a:buAutoNum type="arabicPeriod" startAt="7"/>
            </a:pPr>
            <a:r>
              <a:rPr lang="fr-FR" altLang="zh-CN" sz="800" err="1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Orkin</a:t>
            </a:r>
            <a:r>
              <a:rPr lang="fr-FR" altLang="zh-CN" sz="8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 C et al. Clin Infect Dis. 2019;68(4):535-544.</a:t>
            </a:r>
          </a:p>
          <a:p>
            <a:pPr marL="228600">
              <a:buFont typeface="+mj-lt"/>
              <a:buAutoNum type="arabicPeriod" startAt="7"/>
            </a:pPr>
            <a:r>
              <a:rPr lang="zh-CN" altLang="en-US" sz="8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多拉米替片说明书</a:t>
            </a:r>
            <a:r>
              <a:rPr lang="fr-FR" altLang="zh-CN" sz="8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.</a:t>
            </a:r>
            <a:endParaRPr lang="en-US" altLang="zh-CN" sz="800">
              <a:solidFill>
                <a:prstClr val="black"/>
              </a:solidFill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38BA836-E4A0-4CBA-B67F-79C622D696D7}"/>
              </a:ext>
            </a:extLst>
          </p:cNvPr>
          <p:cNvSpPr txBox="1">
            <a:spLocks/>
          </p:cNvSpPr>
          <p:nvPr/>
        </p:nvSpPr>
        <p:spPr>
          <a:xfrm>
            <a:off x="8186254" y="2675093"/>
            <a:ext cx="3627919" cy="408623"/>
          </a:xfrm>
          <a:prstGeom prst="roundRect">
            <a:avLst/>
          </a:prstGeom>
          <a:solidFill>
            <a:srgbClr val="EB842C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b="1" u="sng">
                <a:solidFill>
                  <a:schemeClr val="bg1"/>
                </a:solidFill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从容应对</a:t>
            </a:r>
            <a:r>
              <a:rPr kumimoji="0" lang="en-US" altLang="zh-CN" sz="1800" b="1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HIV</a:t>
            </a:r>
            <a:r>
              <a:rPr kumimoji="0" lang="zh-CN" alt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管理新挑战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55C46B3-D998-477A-846E-27B6F48CDEC0}"/>
              </a:ext>
            </a:extLst>
          </p:cNvPr>
          <p:cNvSpPr txBox="1">
            <a:spLocks/>
          </p:cNvSpPr>
          <p:nvPr/>
        </p:nvSpPr>
        <p:spPr>
          <a:xfrm>
            <a:off x="574397" y="2646714"/>
            <a:ext cx="3414454" cy="408623"/>
          </a:xfrm>
          <a:prstGeom prst="roundRect">
            <a:avLst/>
          </a:prstGeom>
          <a:solidFill>
            <a:srgbClr val="349E97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2200" b="1">
                <a:solidFill>
                  <a:schemeClr val="bg1"/>
                </a:solidFill>
                <a:cs typeface="+mn-ea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1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兼顾疗效与安全</a:t>
            </a:r>
            <a:endParaRPr kumimoji="0" lang="zh-CN" altLang="en-US" sz="1800" b="1" i="1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D64BC027-0762-40DD-8205-F73F873DA322}"/>
              </a:ext>
            </a:extLst>
          </p:cNvPr>
          <p:cNvSpPr txBox="1"/>
          <p:nvPr/>
        </p:nvSpPr>
        <p:spPr>
          <a:xfrm>
            <a:off x="8120562" y="4956892"/>
            <a:ext cx="298595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 b="1" spc="5">
                <a:solidFill>
                  <a:srgbClr val="EA6B14"/>
                </a:solidFill>
                <a:cs typeface="+mn-ea"/>
              </a:defRPr>
            </a:lvl1pPr>
          </a:lstStyle>
          <a:p>
            <a:r>
              <a:rPr lang="zh-CN" altLang="en-US" sz="1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服用方便，不受食物限制</a:t>
            </a:r>
            <a:r>
              <a:rPr lang="en-GB" altLang="zh-CN" sz="1800" b="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9</a:t>
            </a:r>
            <a:endParaRPr lang="en-US" sz="18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  <a:p>
            <a:endParaRPr lang="en-US" sz="1800" baseline="300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44" name="椭圆 13">
            <a:extLst>
              <a:ext uri="{FF2B5EF4-FFF2-40B4-BE49-F238E27FC236}">
                <a16:creationId xmlns:a16="http://schemas.microsoft.com/office/drawing/2014/main" id="{71B01266-E229-4BC1-BBA4-BF1E751E48BE}"/>
              </a:ext>
            </a:extLst>
          </p:cNvPr>
          <p:cNvSpPr/>
          <p:nvPr/>
        </p:nvSpPr>
        <p:spPr>
          <a:xfrm flipH="1">
            <a:off x="7735418" y="5017005"/>
            <a:ext cx="144000" cy="144000"/>
          </a:xfrm>
          <a:prstGeom prst="ellipse">
            <a:avLst/>
          </a:prstGeom>
          <a:solidFill>
            <a:srgbClr val="00857C"/>
          </a:solidFill>
          <a:ln w="57150" cap="rnd" cmpd="sng" algn="ctr">
            <a:noFill/>
            <a:prstDash val="solid"/>
            <a:round/>
          </a:ln>
          <a:effectLst>
            <a:outerShdw blurRad="76200" dist="50800" dir="5400000" algn="ctr" rotWithShape="0">
              <a:srgbClr val="ED7D31">
                <a:alpha val="20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25000" lnSpcReduction="20000"/>
          </a:bodyPr>
          <a:lstStyle/>
          <a:p>
            <a:pPr marL="0" marR="0" lvl="0" indent="0" algn="ctr" defTabSz="9137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2" name="灯片编号占位符 1">
            <a:extLst>
              <a:ext uri="{FF2B5EF4-FFF2-40B4-BE49-F238E27FC236}">
                <a16:creationId xmlns:a16="http://schemas.microsoft.com/office/drawing/2014/main" id="{6B899A4A-BB6C-4495-88E0-1C43FEF541FE}"/>
              </a:ext>
            </a:extLst>
          </p:cNvPr>
          <p:cNvSpPr txBox="1">
            <a:spLocks/>
          </p:cNvSpPr>
          <p:nvPr/>
        </p:nvSpPr>
        <p:spPr>
          <a:xfrm>
            <a:off x="11530174" y="6438715"/>
            <a:ext cx="567998" cy="24270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7</a:t>
            </a:r>
          </a:p>
        </p:txBody>
      </p:sp>
      <p:sp>
        <p:nvSpPr>
          <p:cNvPr id="33" name="标题 1">
            <a:extLst>
              <a:ext uri="{FF2B5EF4-FFF2-40B4-BE49-F238E27FC236}">
                <a16:creationId xmlns:a16="http://schemas.microsoft.com/office/drawing/2014/main" id="{1CD159E3-D6EE-4D74-99FF-3712853FBDDD}"/>
              </a:ext>
            </a:extLst>
          </p:cNvPr>
          <p:cNvSpPr txBox="1">
            <a:spLocks/>
          </p:cNvSpPr>
          <p:nvPr/>
        </p:nvSpPr>
        <p:spPr>
          <a:xfrm>
            <a:off x="373569" y="423688"/>
            <a:ext cx="10067925" cy="850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50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创新性</a:t>
            </a:r>
            <a:endParaRPr lang="zh-CN" altLang="en-US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F7A03005-F00F-4965-B582-1EBE36D8E57E}"/>
              </a:ext>
            </a:extLst>
          </p:cNvPr>
          <p:cNvSpPr/>
          <p:nvPr/>
        </p:nvSpPr>
        <p:spPr>
          <a:xfrm>
            <a:off x="373569" y="1414676"/>
            <a:ext cx="11440604" cy="46905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一代</a:t>
            </a:r>
            <a:r>
              <a:rPr lang="en-US" altLang="zh-CN" sz="2000" b="1" spc="-5" dirty="0">
                <a:solidFill>
                  <a:schemeClr val="bg1"/>
                </a:solidFill>
                <a:cs typeface="+mn-ea"/>
                <a:sym typeface="+mn-lt"/>
              </a:rPr>
              <a:t>NNRTI</a:t>
            </a:r>
            <a:r>
              <a:rPr lang="zh-CN" altLang="en-US" sz="2000" b="1" spc="-5" dirty="0">
                <a:solidFill>
                  <a:schemeClr val="bg1"/>
                </a:solidFill>
                <a:cs typeface="+mn-ea"/>
                <a:sym typeface="+mn-lt"/>
              </a:rPr>
              <a:t>类</a:t>
            </a:r>
            <a:r>
              <a:rPr lang="zh-CN" altLang="en-US" sz="2000" b="1" spc="-5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药物</a:t>
            </a:r>
            <a:r>
              <a:rPr lang="zh-CN" altLang="en-US" sz="2000" b="1" spc="-5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</a:rPr>
              <a:t>具有</a:t>
            </a:r>
            <a:r>
              <a:rPr lang="zh-CN" altLang="en-US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</a:rPr>
              <a:t>更好药代动力学特征</a:t>
            </a:r>
            <a:r>
              <a:rPr lang="zh-CN" altLang="en-US" sz="2000" b="1" spc="-5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</a:rPr>
              <a:t>，可较好</a:t>
            </a:r>
            <a:r>
              <a:rPr lang="zh-CN" altLang="en-US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</a:rPr>
              <a:t>抑制病毒复制</a:t>
            </a:r>
            <a:r>
              <a:rPr lang="zh-CN" altLang="en-US" sz="2000" b="1" spc="-5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</a:rPr>
              <a:t>，耐药率</a:t>
            </a:r>
            <a:r>
              <a:rPr lang="zh-CN" altLang="en-US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</a:rPr>
              <a:t>低</a:t>
            </a:r>
            <a:r>
              <a:rPr lang="zh-CN" altLang="en-US" sz="2000" b="1" spc="-5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</a:rPr>
              <a:t>，药物相互作用</a:t>
            </a:r>
            <a:r>
              <a:rPr lang="zh-CN" altLang="en-US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</a:rPr>
              <a:t>少</a:t>
            </a:r>
            <a:endParaRPr lang="en-US" sz="2000" b="1" spc="-5" dirty="0">
              <a:solidFill>
                <a:srgbClr val="FCCA5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865018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79983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05041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56278;#12444;#41095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SD 16:9 PPT Theme">
  <a:themeElements>
    <a:clrScheme name="Merck colour theme">
      <a:dk1>
        <a:sysClr val="windowText" lastClr="000000"/>
      </a:dk1>
      <a:lt1>
        <a:sysClr val="window" lastClr="FFFFFF"/>
      </a:lt1>
      <a:dk2>
        <a:srgbClr val="44546A"/>
      </a:dk2>
      <a:lt2>
        <a:srgbClr val="9EA7B3"/>
      </a:lt2>
      <a:accent1>
        <a:srgbClr val="00857C"/>
      </a:accent1>
      <a:accent2>
        <a:srgbClr val="6ECEB2"/>
      </a:accent2>
      <a:accent3>
        <a:srgbClr val="FFF063"/>
      </a:accent3>
      <a:accent4>
        <a:srgbClr val="0C2340"/>
      </a:accent4>
      <a:accent5>
        <a:srgbClr val="5450E4"/>
      </a:accent5>
      <a:accent6>
        <a:srgbClr val="688CE8"/>
      </a:accent6>
      <a:hlink>
        <a:srgbClr val="0563C1"/>
      </a:hlink>
      <a:folHlink>
        <a:srgbClr val="954F72"/>
      </a:folHlink>
    </a:clrScheme>
    <a:fontScheme name="zmqr1ptb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Presentation9" id="{505471A8-5E1C-1C42-8102-4E306BF89AD5}" vid="{2B4D62E7-0F2F-F94D-80C9-17E7DFA785C0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6AC0DC66-E948-4E21-A4D6-D1A6BB3157A5}">
  <we:reference id="98d6c1cd-d2ea-4e59-b3d5-7612ea4978eb" version="3.0.0.1" store="EXCatalog" storeType="EXCatalog"/>
  <we:alternateReferences>
    <we:reference id="WA104380907" version="3.0.0.1" store="en-US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2976</TotalTime>
  <Words>1914</Words>
  <Application>Microsoft Office PowerPoint</Application>
  <PresentationFormat>宽屏</PresentationFormat>
  <Paragraphs>261</Paragraphs>
  <Slides>11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18" baseType="lpstr">
      <vt:lpstr>SourceHanSansCN-Bold</vt:lpstr>
      <vt:lpstr>微软雅黑</vt:lpstr>
      <vt:lpstr>Arial</vt:lpstr>
      <vt:lpstr>Calibri</vt:lpstr>
      <vt:lpstr>Wingdings</vt:lpstr>
      <vt:lpstr>MSD 16:9 PPT Theme</vt:lpstr>
      <vt:lpstr>think-cell 幻灯片</vt:lpstr>
      <vt:lpstr>PowerPoint 演示文稿</vt:lpstr>
      <vt:lpstr>PowerPoint 演示文稿</vt:lpstr>
      <vt:lpstr>药品基本信息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2年5月24日会议主要内容</dc:title>
  <dc:creator>Yu, Bing</dc:creator>
  <cp:lastModifiedBy>Liu, Ming</cp:lastModifiedBy>
  <cp:revision>144</cp:revision>
  <dcterms:created xsi:type="dcterms:W3CDTF">2022-05-23T07:17:18Z</dcterms:created>
  <dcterms:modified xsi:type="dcterms:W3CDTF">2022-07-12T15:53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81acc0d-dcc4-4dc9-a2c5-be70b05a2fe6_Enabled">
    <vt:lpwstr>true</vt:lpwstr>
  </property>
  <property fmtid="{D5CDD505-2E9C-101B-9397-08002B2CF9AE}" pid="3" name="MSIP_Label_e81acc0d-dcc4-4dc9-a2c5-be70b05a2fe6_SetDate">
    <vt:lpwstr>2022-05-23T07:22:52Z</vt:lpwstr>
  </property>
  <property fmtid="{D5CDD505-2E9C-101B-9397-08002B2CF9AE}" pid="4" name="MSIP_Label_e81acc0d-dcc4-4dc9-a2c5-be70b05a2fe6_Method">
    <vt:lpwstr>Privileged</vt:lpwstr>
  </property>
  <property fmtid="{D5CDD505-2E9C-101B-9397-08002B2CF9AE}" pid="5" name="MSIP_Label_e81acc0d-dcc4-4dc9-a2c5-be70b05a2fe6_Name">
    <vt:lpwstr>e81acc0d-dcc4-4dc9-a2c5-be70b05a2fe6</vt:lpwstr>
  </property>
  <property fmtid="{D5CDD505-2E9C-101B-9397-08002B2CF9AE}" pid="6" name="MSIP_Label_e81acc0d-dcc4-4dc9-a2c5-be70b05a2fe6_SiteId">
    <vt:lpwstr>a00de4ec-48a8-43a6-be74-e31274e2060d</vt:lpwstr>
  </property>
  <property fmtid="{D5CDD505-2E9C-101B-9397-08002B2CF9AE}" pid="7" name="MSIP_Label_e81acc0d-dcc4-4dc9-a2c5-be70b05a2fe6_ActionId">
    <vt:lpwstr>5c1605ff-a722-4553-b7a3-e57631923bae</vt:lpwstr>
  </property>
  <property fmtid="{D5CDD505-2E9C-101B-9397-08002B2CF9AE}" pid="8" name="MSIP_Label_e81acc0d-dcc4-4dc9-a2c5-be70b05a2fe6_ContentBits">
    <vt:lpwstr>0</vt:lpwstr>
  </property>
  <property fmtid="{D5CDD505-2E9C-101B-9397-08002B2CF9AE}" pid="9" name="MerckAIPLabel">
    <vt:lpwstr>NotClassified</vt:lpwstr>
  </property>
  <property fmtid="{D5CDD505-2E9C-101B-9397-08002B2CF9AE}" pid="10" name="MerckAIPDataExchange">
    <vt:lpwstr>!MRKMIP@NotClassified</vt:lpwstr>
  </property>
  <property fmtid="{D5CDD505-2E9C-101B-9397-08002B2CF9AE}" pid="11" name="_AdHocReviewCycleID">
    <vt:i4>954755177</vt:i4>
  </property>
  <property fmtid="{D5CDD505-2E9C-101B-9397-08002B2CF9AE}" pid="12" name="_NewReviewCycle">
    <vt:lpwstr/>
  </property>
  <property fmtid="{D5CDD505-2E9C-101B-9397-08002B2CF9AE}" pid="13" name="_EmailSubject">
    <vt:lpwstr>update- 分工更新</vt:lpwstr>
  </property>
  <property fmtid="{D5CDD505-2E9C-101B-9397-08002B2CF9AE}" pid="14" name="_AuthorEmail">
    <vt:lpwstr>bing.yu@merck.com</vt:lpwstr>
  </property>
  <property fmtid="{D5CDD505-2E9C-101B-9397-08002B2CF9AE}" pid="15" name="_AuthorEmailDisplayName">
    <vt:lpwstr>Yu, Bing</vt:lpwstr>
  </property>
</Properties>
</file>